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</p:sldMasterIdLst>
  <p:notesMasterIdLst>
    <p:notesMasterId r:id="rId13"/>
  </p:notesMasterIdLst>
  <p:sldIdLst>
    <p:sldId id="316" r:id="rId4"/>
    <p:sldId id="307" r:id="rId5"/>
    <p:sldId id="308" r:id="rId6"/>
    <p:sldId id="310" r:id="rId7"/>
    <p:sldId id="315" r:id="rId8"/>
    <p:sldId id="311" r:id="rId9"/>
    <p:sldId id="322" r:id="rId10"/>
    <p:sldId id="323" r:id="rId11"/>
    <p:sldId id="324" r:id="rId12"/>
  </p:sldIdLst>
  <p:sldSz cx="9144000" cy="6858000" type="screen4x3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укаринов Михаил Владимирович" initials="БМВ" lastIdx="1" clrIdx="0">
    <p:extLst>
      <p:ext uri="{19B8F6BF-5375-455C-9EA6-DF929625EA0E}">
        <p15:presenceInfo xmlns="" xmlns:p15="http://schemas.microsoft.com/office/powerpoint/2012/main" userId="S-1-5-21-1429086151-2803730993-1740142415-96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C457"/>
    <a:srgbClr val="0033CC"/>
    <a:srgbClr val="2D81BE"/>
    <a:srgbClr val="2583FF"/>
    <a:srgbClr val="39A4F1"/>
    <a:srgbClr val="E6F5FF"/>
    <a:srgbClr val="CCEBFF"/>
    <a:srgbClr val="7D9DB2"/>
    <a:srgbClr val="FAE3A4"/>
    <a:srgbClr val="0069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4" d="100"/>
          <a:sy n="94" d="100"/>
        </p:scale>
        <p:origin x="-882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Relationship Id="rId64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367173228475574E-2"/>
          <c:y val="2.6863566158598494E-2"/>
          <c:w val="0.93171057041020944"/>
          <c:h val="0.667681533865400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гиональные проекты</c:v>
                </c:pt>
              </c:strCache>
            </c:strRef>
          </c:tx>
          <c:spPr>
            <a:solidFill>
              <a:schemeClr val="accent1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6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7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8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9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0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1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3</c:f>
              <c:strCache>
                <c:ptCount val="22"/>
                <c:pt idx="0">
                  <c:v>Нижневартовск</c:v>
                </c:pt>
                <c:pt idx="1">
                  <c:v>Сургут</c:v>
                </c:pt>
                <c:pt idx="2">
                  <c:v>Ханты-Мансийск</c:v>
                </c:pt>
                <c:pt idx="3">
                  <c:v>Нефтеюганск</c:v>
                </c:pt>
                <c:pt idx="4">
                  <c:v>Нефтеюганский р-он</c:v>
                </c:pt>
                <c:pt idx="5">
                  <c:v>Сургутский р-он</c:v>
                </c:pt>
                <c:pt idx="6">
                  <c:v>Белоярский р-он</c:v>
                </c:pt>
                <c:pt idx="7">
                  <c:v>Березовский р-он</c:v>
                </c:pt>
                <c:pt idx="8">
                  <c:v>Кондинский р-он</c:v>
                </c:pt>
                <c:pt idx="9">
                  <c:v>Мегион</c:v>
                </c:pt>
                <c:pt idx="10">
                  <c:v>Октябрьский р-он</c:v>
                </c:pt>
                <c:pt idx="11">
                  <c:v>Пыть-Ях</c:v>
                </c:pt>
                <c:pt idx="12">
                  <c:v>Советский р-он</c:v>
                </c:pt>
                <c:pt idx="13">
                  <c:v>Урай</c:v>
                </c:pt>
                <c:pt idx="14">
                  <c:v>Ханты-Мансийский р-он</c:v>
                </c:pt>
                <c:pt idx="15">
                  <c:v>Югорск</c:v>
                </c:pt>
                <c:pt idx="16">
                  <c:v>Когалым</c:v>
                </c:pt>
                <c:pt idx="17">
                  <c:v>Нижневартовский р-он</c:v>
                </c:pt>
                <c:pt idx="18">
                  <c:v>Нягань</c:v>
                </c:pt>
                <c:pt idx="19">
                  <c:v>Покачи</c:v>
                </c:pt>
                <c:pt idx="20">
                  <c:v>Радужный</c:v>
                </c:pt>
                <c:pt idx="21">
                  <c:v>Лангепас</c:v>
                </c:pt>
              </c:strCache>
            </c:strRef>
          </c:cat>
          <c:val>
            <c:numRef>
              <c:f>Лист1!$B$2:$B$23</c:f>
              <c:numCache>
                <c:formatCode>General</c:formatCode>
                <c:ptCount val="22"/>
                <c:pt idx="0">
                  <c:v>21</c:v>
                </c:pt>
                <c:pt idx="1">
                  <c:v>21</c:v>
                </c:pt>
                <c:pt idx="2">
                  <c:v>21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19</c:v>
                </c:pt>
                <c:pt idx="7">
                  <c:v>19</c:v>
                </c:pt>
                <c:pt idx="8">
                  <c:v>19</c:v>
                </c:pt>
                <c:pt idx="9">
                  <c:v>19</c:v>
                </c:pt>
                <c:pt idx="10">
                  <c:v>19</c:v>
                </c:pt>
                <c:pt idx="11">
                  <c:v>19</c:v>
                </c:pt>
                <c:pt idx="12">
                  <c:v>19</c:v>
                </c:pt>
                <c:pt idx="13">
                  <c:v>19</c:v>
                </c:pt>
                <c:pt idx="14">
                  <c:v>19</c:v>
                </c:pt>
                <c:pt idx="15">
                  <c:v>19</c:v>
                </c:pt>
                <c:pt idx="16">
                  <c:v>18</c:v>
                </c:pt>
                <c:pt idx="17">
                  <c:v>18</c:v>
                </c:pt>
                <c:pt idx="18">
                  <c:v>18</c:v>
                </c:pt>
                <c:pt idx="19">
                  <c:v>18</c:v>
                </c:pt>
                <c:pt idx="20">
                  <c:v>18</c:v>
                </c:pt>
                <c:pt idx="21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88408064"/>
        <c:axId val="88409600"/>
      </c:barChart>
      <c:catAx>
        <c:axId val="884080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88409600"/>
        <c:crosses val="autoZero"/>
        <c:auto val="1"/>
        <c:lblAlgn val="ctr"/>
        <c:lblOffset val="100"/>
        <c:noMultiLvlLbl val="0"/>
      </c:catAx>
      <c:valAx>
        <c:axId val="8840960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crossAx val="88408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958284470449786E-2"/>
          <c:y val="8.5587342147168913E-2"/>
          <c:w val="0.58103883519115151"/>
          <c:h val="0.64471432397922313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лн рублей</c:v>
                </c:pt>
              </c:strCache>
            </c:strRef>
          </c:tx>
          <c:explosion val="5"/>
          <c:dPt>
            <c:idx val="0"/>
            <c:bubble3D val="0"/>
            <c:spPr>
              <a:solidFill>
                <a:schemeClr val="accent1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"/>
            <c:bubble3D val="0"/>
            <c:spPr>
              <a:solidFill>
                <a:schemeClr val="accent3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2"/>
            <c:bubble3D val="0"/>
            <c:spPr>
              <a:solidFill>
                <a:schemeClr val="accent5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7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8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9"/>
            <c:bubble3D val="0"/>
            <c:spPr>
              <a:solidFill>
                <a:schemeClr val="accent1">
                  <a:lumMod val="8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0"/>
            <c:bubble3D val="0"/>
            <c:spPr>
              <a:solidFill>
                <a:schemeClr val="accent3">
                  <a:lumMod val="80000"/>
                </a:schemeClr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9.7597952079398642E-2"/>
                  <c:y val="-7.296800355516053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8864004822509442"/>
                  <c:y val="2.8587379180091115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Популяризация </a:t>
                    </a:r>
                    <a:r>
                      <a:rPr lang="ru-RU" smtClean="0"/>
                      <a:t>МСП</a:t>
                    </a:r>
                    <a:r>
                      <a:rPr lang="ru-RU" dirty="0"/>
                      <a:t>
0,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11325704894243575"/>
                  <c:y val="0.1327061807947266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5826866287833596E-2"/>
                  <c:y val="0.1548805688256860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24015601490095065"/>
                  <c:y val="0.107069029367107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5.4391418786115704E-2"/>
                  <c:y val="-6.3952153464429855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11084279387338307"/>
                  <c:y val="-6.3491093582194571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3.6343184090656594E-2"/>
                  <c:y val="-7.9537458800874004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0.15737243186971003"/>
                  <c:y val="4.447431766840721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12829490138955746"/>
                  <c:y val="-0.1648174276932192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2</c:f>
              <c:strCache>
                <c:ptCount val="11"/>
                <c:pt idx="0">
                  <c:v>Финансовая поддержка МСП</c:v>
                </c:pt>
                <c:pt idx="1">
                  <c:v>Популяризация предпринимательства</c:v>
                </c:pt>
                <c:pt idx="2">
                  <c:v>Культурная среда</c:v>
                </c:pt>
                <c:pt idx="3">
                  <c:v>Содействие занятости женщин</c:v>
                </c:pt>
                <c:pt idx="4">
                  <c:v>Чистая вода</c:v>
                </c:pt>
                <c:pt idx="5">
                  <c:v>Чистая страна</c:v>
                </c:pt>
                <c:pt idx="6">
                  <c:v>Современная школа</c:v>
                </c:pt>
                <c:pt idx="7">
                  <c:v>Успех каждого ребенка</c:v>
                </c:pt>
                <c:pt idx="8">
                  <c:v>Дорожная сеть </c:v>
                </c:pt>
                <c:pt idx="9">
                  <c:v>Жилье</c:v>
                </c:pt>
                <c:pt idx="10">
                  <c:v>Формирование комфортной городской среды</c:v>
                </c:pt>
              </c:strCache>
            </c:strRef>
          </c:cat>
          <c:val>
            <c:numRef>
              <c:f>Лист1!$B$2:$B$12</c:f>
              <c:numCache>
                <c:formatCode>0.0</c:formatCode>
                <c:ptCount val="11"/>
                <c:pt idx="0">
                  <c:v>71</c:v>
                </c:pt>
                <c:pt idx="1">
                  <c:v>10.4</c:v>
                </c:pt>
                <c:pt idx="2">
                  <c:v>24.4</c:v>
                </c:pt>
                <c:pt idx="3">
                  <c:v>255.2</c:v>
                </c:pt>
                <c:pt idx="4">
                  <c:v>63.3</c:v>
                </c:pt>
                <c:pt idx="5">
                  <c:v>132.19999999999999</c:v>
                </c:pt>
                <c:pt idx="6">
                  <c:v>3148</c:v>
                </c:pt>
                <c:pt idx="7">
                  <c:v>38.5</c:v>
                </c:pt>
                <c:pt idx="8">
                  <c:v>163.30000000000001</c:v>
                </c:pt>
                <c:pt idx="9">
                  <c:v>852.7</c:v>
                </c:pt>
                <c:pt idx="10">
                  <c:v>170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113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100" b="1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н рубле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0"/>
                  <c:y val="1.25000000000000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7.9573535972250822E-3"/>
                  <c:y val="1.249999999999997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3.9786767986125411E-3"/>
                  <c:y val="-1.5625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889,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3872060791675243E-2"/>
                  <c:y val="6.250000000000002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3.9786767986125411E-3"/>
                  <c:y val="1.25000000000000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40.9</c:v>
                </c:pt>
                <c:pt idx="1">
                  <c:v>912.1</c:v>
                </c:pt>
                <c:pt idx="2">
                  <c:v>829.5</c:v>
                </c:pt>
                <c:pt idx="3">
                  <c:v>889</c:v>
                </c:pt>
                <c:pt idx="4">
                  <c:v>891.7</c:v>
                </c:pt>
                <c:pt idx="5">
                  <c:v>766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8306048"/>
        <c:axId val="88307584"/>
      </c:barChart>
      <c:catAx>
        <c:axId val="88306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307584"/>
        <c:crosses val="autoZero"/>
        <c:auto val="1"/>
        <c:lblAlgn val="ctr"/>
        <c:lblOffset val="100"/>
        <c:noMultiLvlLbl val="0"/>
      </c:catAx>
      <c:valAx>
        <c:axId val="8830758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one"/>
        <c:crossAx val="88306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image" Target="../media/image27.jpeg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image" Target="../media/image27.jpeg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FC2365-A5A3-4D12-B491-C2714643FA58}" type="doc">
      <dgm:prSet loTypeId="urn:microsoft.com/office/officeart/2005/8/layout/bList2#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7E374735-67A5-4695-8D96-680ED35429D3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Малое и среднее предпринимательство</a:t>
          </a:r>
          <a:endParaRPr lang="ru-RU" sz="1400" b="1" dirty="0"/>
        </a:p>
      </dgm:t>
    </dgm:pt>
    <dgm:pt modelId="{A968F663-82A7-491B-A27F-69803299B453}" type="parTrans" cxnId="{7788000F-1F35-47F1-B216-E25BB4E771F1}">
      <dgm:prSet/>
      <dgm:spPr/>
      <dgm:t>
        <a:bodyPr/>
        <a:lstStyle/>
        <a:p>
          <a:endParaRPr lang="ru-RU"/>
        </a:p>
      </dgm:t>
    </dgm:pt>
    <dgm:pt modelId="{DF4688F8-FF83-4B7D-AE9D-57FE2014423B}" type="sibTrans" cxnId="{7788000F-1F35-47F1-B216-E25BB4E771F1}">
      <dgm:prSet/>
      <dgm:spPr/>
      <dgm:t>
        <a:bodyPr/>
        <a:lstStyle/>
        <a:p>
          <a:endParaRPr lang="ru-RU"/>
        </a:p>
      </dgm:t>
    </dgm:pt>
    <dgm:pt modelId="{DDCDAD82-7CDD-49B3-9510-4460EDA58BCD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Финансовая поддержка МСП</a:t>
          </a:r>
          <a:endParaRPr lang="ru-RU" sz="1200" dirty="0"/>
        </a:p>
      </dgm:t>
    </dgm:pt>
    <dgm:pt modelId="{2C0200E6-7170-48F6-96E4-2A0A9CC7E251}" type="parTrans" cxnId="{CB446C01-037D-4461-AB07-E81FA450D3A2}">
      <dgm:prSet/>
      <dgm:spPr/>
      <dgm:t>
        <a:bodyPr/>
        <a:lstStyle/>
        <a:p>
          <a:endParaRPr lang="ru-RU"/>
        </a:p>
      </dgm:t>
    </dgm:pt>
    <dgm:pt modelId="{8C992BBB-2EBD-4159-9120-A0FDC504F63E}" type="sibTrans" cxnId="{CB446C01-037D-4461-AB07-E81FA450D3A2}">
      <dgm:prSet/>
      <dgm:spPr/>
      <dgm:t>
        <a:bodyPr/>
        <a:lstStyle/>
        <a:p>
          <a:endParaRPr lang="ru-RU"/>
        </a:p>
      </dgm:t>
    </dgm:pt>
    <dgm:pt modelId="{AADF841D-9983-40A8-887F-C88DB994868F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Популяризация предпринимательства</a:t>
          </a:r>
          <a:endParaRPr lang="ru-RU" sz="1200" dirty="0"/>
        </a:p>
      </dgm:t>
    </dgm:pt>
    <dgm:pt modelId="{69D45BF5-C6ED-44D7-A797-14E7E81E5269}" type="parTrans" cxnId="{9F466491-65C0-4F2A-A10B-896E3C969CA2}">
      <dgm:prSet/>
      <dgm:spPr/>
      <dgm:t>
        <a:bodyPr/>
        <a:lstStyle/>
        <a:p>
          <a:endParaRPr lang="ru-RU"/>
        </a:p>
      </dgm:t>
    </dgm:pt>
    <dgm:pt modelId="{B2C6F549-811E-47B3-B583-04A242A67174}" type="sibTrans" cxnId="{9F466491-65C0-4F2A-A10B-896E3C969CA2}">
      <dgm:prSet/>
      <dgm:spPr/>
      <dgm:t>
        <a:bodyPr/>
        <a:lstStyle/>
        <a:p>
          <a:endParaRPr lang="ru-RU"/>
        </a:p>
      </dgm:t>
    </dgm:pt>
    <dgm:pt modelId="{BA64F632-2FB3-4F4C-8D04-34359861AD08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Культура</a:t>
          </a:r>
          <a:endParaRPr lang="ru-RU" sz="1400" b="1" dirty="0"/>
        </a:p>
      </dgm:t>
    </dgm:pt>
    <dgm:pt modelId="{CB408642-19EB-481E-9325-9FE14D0F6029}" type="parTrans" cxnId="{8CEDAA7B-39CE-44BB-9267-FC9349EA8812}">
      <dgm:prSet/>
      <dgm:spPr/>
      <dgm:t>
        <a:bodyPr/>
        <a:lstStyle/>
        <a:p>
          <a:endParaRPr lang="ru-RU"/>
        </a:p>
      </dgm:t>
    </dgm:pt>
    <dgm:pt modelId="{B53C74A7-9012-4DD1-83A9-812B6D389120}" type="sibTrans" cxnId="{8CEDAA7B-39CE-44BB-9267-FC9349EA8812}">
      <dgm:prSet/>
      <dgm:spPr/>
      <dgm:t>
        <a:bodyPr/>
        <a:lstStyle/>
        <a:p>
          <a:endParaRPr lang="ru-RU"/>
        </a:p>
      </dgm:t>
    </dgm:pt>
    <dgm:pt modelId="{FC7C7858-FDB0-4BA0-AC92-D1428DA3783A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Культурная среда</a:t>
          </a:r>
          <a:endParaRPr lang="ru-RU" sz="1200" dirty="0"/>
        </a:p>
      </dgm:t>
    </dgm:pt>
    <dgm:pt modelId="{D46E6076-7574-443A-B7C2-0F5B5174B20A}" type="parTrans" cxnId="{498F2F6F-CC1A-4A59-8D88-A03E291C0D3B}">
      <dgm:prSet/>
      <dgm:spPr/>
      <dgm:t>
        <a:bodyPr/>
        <a:lstStyle/>
        <a:p>
          <a:endParaRPr lang="ru-RU"/>
        </a:p>
      </dgm:t>
    </dgm:pt>
    <dgm:pt modelId="{1A4567DF-11D2-42B6-B151-338492067206}" type="sibTrans" cxnId="{498F2F6F-CC1A-4A59-8D88-A03E291C0D3B}">
      <dgm:prSet/>
      <dgm:spPr/>
      <dgm:t>
        <a:bodyPr/>
        <a:lstStyle/>
        <a:p>
          <a:endParaRPr lang="ru-RU"/>
        </a:p>
      </dgm:t>
    </dgm:pt>
    <dgm:pt modelId="{C0BC361D-F855-4CE6-980A-67BB29A1759E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Цифровая культура</a:t>
          </a:r>
          <a:endParaRPr lang="ru-RU" sz="1200" dirty="0"/>
        </a:p>
      </dgm:t>
    </dgm:pt>
    <dgm:pt modelId="{78100D9D-2B98-4772-A1CD-0CDB736AB3B2}" type="parTrans" cxnId="{32384728-7A8C-4B02-B7B0-DCB0529A1C73}">
      <dgm:prSet/>
      <dgm:spPr/>
      <dgm:t>
        <a:bodyPr/>
        <a:lstStyle/>
        <a:p>
          <a:endParaRPr lang="ru-RU"/>
        </a:p>
      </dgm:t>
    </dgm:pt>
    <dgm:pt modelId="{6A61DAEC-CE42-41E4-BC90-FBF8F7240C8B}" type="sibTrans" cxnId="{32384728-7A8C-4B02-B7B0-DCB0529A1C73}">
      <dgm:prSet/>
      <dgm:spPr/>
      <dgm:t>
        <a:bodyPr/>
        <a:lstStyle/>
        <a:p>
          <a:endParaRPr lang="ru-RU"/>
        </a:p>
      </dgm:t>
    </dgm:pt>
    <dgm:pt modelId="{229733B2-3191-48AD-8516-2694907F9561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Демография</a:t>
          </a:r>
          <a:endParaRPr lang="ru-RU" sz="1400" b="1" dirty="0"/>
        </a:p>
      </dgm:t>
    </dgm:pt>
    <dgm:pt modelId="{7E13ECB8-29E2-4D82-8580-C393572ECF2E}" type="parTrans" cxnId="{E4F420AB-56BB-406D-BC4A-F13A76BC0B38}">
      <dgm:prSet/>
      <dgm:spPr/>
      <dgm:t>
        <a:bodyPr/>
        <a:lstStyle/>
        <a:p>
          <a:endParaRPr lang="ru-RU"/>
        </a:p>
      </dgm:t>
    </dgm:pt>
    <dgm:pt modelId="{0209940E-5E29-4993-8815-109CB83470EF}" type="sibTrans" cxnId="{E4F420AB-56BB-406D-BC4A-F13A76BC0B38}">
      <dgm:prSet/>
      <dgm:spPr/>
      <dgm:t>
        <a:bodyPr/>
        <a:lstStyle/>
        <a:p>
          <a:endParaRPr lang="ru-RU"/>
        </a:p>
      </dgm:t>
    </dgm:pt>
    <dgm:pt modelId="{1E1C0375-25C1-45FF-802D-0BA9BAA11637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таршее поколение</a:t>
          </a:r>
          <a:endParaRPr lang="ru-RU" sz="1200" dirty="0"/>
        </a:p>
      </dgm:t>
    </dgm:pt>
    <dgm:pt modelId="{2E1BED0D-63A7-412E-B7BE-8C422171B4D7}" type="parTrans" cxnId="{0A15B77E-FCE8-41A6-AC05-60AF8EB39302}">
      <dgm:prSet/>
      <dgm:spPr/>
      <dgm:t>
        <a:bodyPr/>
        <a:lstStyle/>
        <a:p>
          <a:endParaRPr lang="ru-RU"/>
        </a:p>
      </dgm:t>
    </dgm:pt>
    <dgm:pt modelId="{AB1BD877-8CB3-47FD-A647-1A31B4169748}" type="sibTrans" cxnId="{0A15B77E-FCE8-41A6-AC05-60AF8EB39302}">
      <dgm:prSet/>
      <dgm:spPr/>
      <dgm:t>
        <a:bodyPr/>
        <a:lstStyle/>
        <a:p>
          <a:endParaRPr lang="ru-RU"/>
        </a:p>
      </dgm:t>
    </dgm:pt>
    <dgm:pt modelId="{EF3DE831-4896-4589-9776-44357498D1B6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одействие занятости женщин</a:t>
          </a:r>
          <a:endParaRPr lang="ru-RU" sz="1200" dirty="0"/>
        </a:p>
      </dgm:t>
    </dgm:pt>
    <dgm:pt modelId="{CE6F1B4E-FD85-4B8A-B620-5E37206BD549}" type="parTrans" cxnId="{BA257547-F5E8-446F-B178-DBB17F371ED6}">
      <dgm:prSet/>
      <dgm:spPr/>
      <dgm:t>
        <a:bodyPr/>
        <a:lstStyle/>
        <a:p>
          <a:endParaRPr lang="ru-RU"/>
        </a:p>
      </dgm:t>
    </dgm:pt>
    <dgm:pt modelId="{8310F015-A38F-49B9-B48B-E76FF6A1C732}" type="sibTrans" cxnId="{BA257547-F5E8-446F-B178-DBB17F371ED6}">
      <dgm:prSet/>
      <dgm:spPr/>
      <dgm:t>
        <a:bodyPr/>
        <a:lstStyle/>
        <a:p>
          <a:endParaRPr lang="ru-RU"/>
        </a:p>
      </dgm:t>
    </dgm:pt>
    <dgm:pt modelId="{A62CB26F-C90F-4BEA-8926-45B549986D8F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порт – норма жизни</a:t>
          </a:r>
          <a:endParaRPr lang="ru-RU" sz="1200" dirty="0"/>
        </a:p>
      </dgm:t>
    </dgm:pt>
    <dgm:pt modelId="{249CD900-F477-46F7-B096-BC0A4C0A96E4}" type="parTrans" cxnId="{34B2684F-BB2B-45D8-8D4D-3FBB17973023}">
      <dgm:prSet/>
      <dgm:spPr/>
      <dgm:t>
        <a:bodyPr/>
        <a:lstStyle/>
        <a:p>
          <a:endParaRPr lang="ru-RU"/>
        </a:p>
      </dgm:t>
    </dgm:pt>
    <dgm:pt modelId="{CC26BC40-F815-4F34-8701-3CA56E928D51}" type="sibTrans" cxnId="{34B2684F-BB2B-45D8-8D4D-3FBB17973023}">
      <dgm:prSet/>
      <dgm:spPr/>
      <dgm:t>
        <a:bodyPr/>
        <a:lstStyle/>
        <a:p>
          <a:endParaRPr lang="ru-RU"/>
        </a:p>
      </dgm:t>
    </dgm:pt>
    <dgm:pt modelId="{987FAD53-DAD3-4196-B5A7-94D888144C16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Образование</a:t>
          </a:r>
          <a:endParaRPr lang="ru-RU" sz="1400" b="1" dirty="0"/>
        </a:p>
      </dgm:t>
    </dgm:pt>
    <dgm:pt modelId="{6C4A1F3F-AE03-4DE7-A775-BDDA7833D344}" type="parTrans" cxnId="{504A9A8A-A241-41B6-AC6A-082C20660E9B}">
      <dgm:prSet/>
      <dgm:spPr/>
      <dgm:t>
        <a:bodyPr/>
        <a:lstStyle/>
        <a:p>
          <a:endParaRPr lang="ru-RU"/>
        </a:p>
      </dgm:t>
    </dgm:pt>
    <dgm:pt modelId="{61E5096A-6C12-4E53-99F5-D63C600B3E34}" type="sibTrans" cxnId="{504A9A8A-A241-41B6-AC6A-082C20660E9B}">
      <dgm:prSet/>
      <dgm:spPr/>
      <dgm:t>
        <a:bodyPr/>
        <a:lstStyle/>
        <a:p>
          <a:endParaRPr lang="ru-RU"/>
        </a:p>
      </dgm:t>
    </dgm:pt>
    <dgm:pt modelId="{53B9FFB8-1B70-4FA7-972F-EA70160B510D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овременная школа</a:t>
          </a:r>
          <a:endParaRPr lang="ru-RU" sz="1200" dirty="0"/>
        </a:p>
      </dgm:t>
    </dgm:pt>
    <dgm:pt modelId="{3E4E8D63-E959-4EE7-86BE-6B245C333F6B}" type="parTrans" cxnId="{3566E5B2-5679-450C-BC42-2137F4BCD533}">
      <dgm:prSet/>
      <dgm:spPr/>
      <dgm:t>
        <a:bodyPr/>
        <a:lstStyle/>
        <a:p>
          <a:endParaRPr lang="ru-RU"/>
        </a:p>
      </dgm:t>
    </dgm:pt>
    <dgm:pt modelId="{9665239C-835C-4B85-8DFF-EAA33913C99B}" type="sibTrans" cxnId="{3566E5B2-5679-450C-BC42-2137F4BCD533}">
      <dgm:prSet/>
      <dgm:spPr/>
      <dgm:t>
        <a:bodyPr/>
        <a:lstStyle/>
        <a:p>
          <a:endParaRPr lang="ru-RU"/>
        </a:p>
      </dgm:t>
    </dgm:pt>
    <dgm:pt modelId="{7BE8B2BD-4362-4452-8CC4-8A38D453638F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Успех каждого ребенка</a:t>
          </a:r>
          <a:endParaRPr lang="ru-RU" sz="1200" dirty="0"/>
        </a:p>
      </dgm:t>
    </dgm:pt>
    <dgm:pt modelId="{403F6EDB-EE9B-44E4-A26C-7D3A08415DC2}" type="parTrans" cxnId="{89FFA7D2-F06E-4D6C-B89E-D76EF6494AE2}">
      <dgm:prSet/>
      <dgm:spPr/>
      <dgm:t>
        <a:bodyPr/>
        <a:lstStyle/>
        <a:p>
          <a:endParaRPr lang="ru-RU"/>
        </a:p>
      </dgm:t>
    </dgm:pt>
    <dgm:pt modelId="{C4487F7F-2D89-4A3C-8757-7090E712A492}" type="sibTrans" cxnId="{89FFA7D2-F06E-4D6C-B89E-D76EF6494AE2}">
      <dgm:prSet/>
      <dgm:spPr/>
      <dgm:t>
        <a:bodyPr/>
        <a:lstStyle/>
        <a:p>
          <a:endParaRPr lang="ru-RU"/>
        </a:p>
      </dgm:t>
    </dgm:pt>
    <dgm:pt modelId="{3200E0B0-694F-43B7-B32B-2A202FB131D7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Поддержка семей, имеющих детей </a:t>
          </a:r>
          <a:endParaRPr lang="ru-RU" sz="1200" dirty="0"/>
        </a:p>
      </dgm:t>
    </dgm:pt>
    <dgm:pt modelId="{6DFC8EBF-2872-4E4B-9700-3D5ABE15A3B4}" type="parTrans" cxnId="{A4068568-DBE7-4DFC-9BF8-BE181A0D3D5A}">
      <dgm:prSet/>
      <dgm:spPr/>
      <dgm:t>
        <a:bodyPr/>
        <a:lstStyle/>
        <a:p>
          <a:endParaRPr lang="ru-RU"/>
        </a:p>
      </dgm:t>
    </dgm:pt>
    <dgm:pt modelId="{DA4AA941-C7CC-45E3-AB6B-24668DA2EE71}" type="sibTrans" cxnId="{A4068568-DBE7-4DFC-9BF8-BE181A0D3D5A}">
      <dgm:prSet/>
      <dgm:spPr/>
      <dgm:t>
        <a:bodyPr/>
        <a:lstStyle/>
        <a:p>
          <a:endParaRPr lang="ru-RU"/>
        </a:p>
      </dgm:t>
    </dgm:pt>
    <dgm:pt modelId="{0B2ADAD1-DD80-4E6D-97DA-0F0A42FD51AD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Цифровая образовательная среда</a:t>
          </a:r>
          <a:endParaRPr lang="ru-RU" sz="1200" dirty="0"/>
        </a:p>
      </dgm:t>
    </dgm:pt>
    <dgm:pt modelId="{946C77FC-9079-4F27-AD0E-1DCA71CAE667}" type="parTrans" cxnId="{51D9FFE6-8D62-4773-861A-F02F36C56A47}">
      <dgm:prSet/>
      <dgm:spPr/>
      <dgm:t>
        <a:bodyPr/>
        <a:lstStyle/>
        <a:p>
          <a:endParaRPr lang="ru-RU"/>
        </a:p>
      </dgm:t>
    </dgm:pt>
    <dgm:pt modelId="{C6E06894-8B17-40F6-A7C7-DEABF3543D2F}" type="sibTrans" cxnId="{51D9FFE6-8D62-4773-861A-F02F36C56A47}">
      <dgm:prSet/>
      <dgm:spPr/>
      <dgm:t>
        <a:bodyPr/>
        <a:lstStyle/>
        <a:p>
          <a:endParaRPr lang="ru-RU"/>
        </a:p>
      </dgm:t>
    </dgm:pt>
    <dgm:pt modelId="{09B9E08F-AE8F-46D8-B108-384B8CC089F1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Учитель будущего</a:t>
          </a:r>
          <a:endParaRPr lang="ru-RU" sz="1200" dirty="0"/>
        </a:p>
      </dgm:t>
    </dgm:pt>
    <dgm:pt modelId="{0A265827-7ABA-4F50-BA7B-CB9EFF602D1F}" type="parTrans" cxnId="{D0A047D5-FA6E-442B-A508-68F6CD1AEACD}">
      <dgm:prSet/>
      <dgm:spPr/>
      <dgm:t>
        <a:bodyPr/>
        <a:lstStyle/>
        <a:p>
          <a:endParaRPr lang="ru-RU"/>
        </a:p>
      </dgm:t>
    </dgm:pt>
    <dgm:pt modelId="{796D483C-E8B0-4826-BFBE-710281B7047F}" type="sibTrans" cxnId="{D0A047D5-FA6E-442B-A508-68F6CD1AEACD}">
      <dgm:prSet/>
      <dgm:spPr/>
      <dgm:t>
        <a:bodyPr/>
        <a:lstStyle/>
        <a:p>
          <a:endParaRPr lang="ru-RU"/>
        </a:p>
      </dgm:t>
    </dgm:pt>
    <dgm:pt modelId="{B4CD6599-135D-4353-BEBD-2C2EE3640C08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оциальная активность</a:t>
          </a:r>
          <a:endParaRPr lang="ru-RU" sz="1200" dirty="0"/>
        </a:p>
      </dgm:t>
    </dgm:pt>
    <dgm:pt modelId="{5C6967BD-D00F-4F71-A866-C47B540C7187}" type="parTrans" cxnId="{464EB828-001E-4777-9DCE-268D5DE75B6E}">
      <dgm:prSet/>
      <dgm:spPr/>
      <dgm:t>
        <a:bodyPr/>
        <a:lstStyle/>
        <a:p>
          <a:endParaRPr lang="ru-RU"/>
        </a:p>
      </dgm:t>
    </dgm:pt>
    <dgm:pt modelId="{CF293E29-74A7-4DC5-943C-447CAC9FFE82}" type="sibTrans" cxnId="{464EB828-001E-4777-9DCE-268D5DE75B6E}">
      <dgm:prSet/>
      <dgm:spPr/>
      <dgm:t>
        <a:bodyPr/>
        <a:lstStyle/>
        <a:p>
          <a:endParaRPr lang="ru-RU"/>
        </a:p>
      </dgm:t>
    </dgm:pt>
    <dgm:pt modelId="{6B64EC12-E198-41C9-A000-37603B3ABB97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Безопасные и качественные дороги</a:t>
          </a:r>
          <a:endParaRPr lang="ru-RU" sz="1400" b="1" dirty="0"/>
        </a:p>
      </dgm:t>
    </dgm:pt>
    <dgm:pt modelId="{F9765D41-5440-4256-87CD-C97902C72488}" type="parTrans" cxnId="{DC3E0A96-D11C-4D03-A837-26459F76FBB4}">
      <dgm:prSet/>
      <dgm:spPr/>
      <dgm:t>
        <a:bodyPr/>
        <a:lstStyle/>
        <a:p>
          <a:endParaRPr lang="ru-RU"/>
        </a:p>
      </dgm:t>
    </dgm:pt>
    <dgm:pt modelId="{94BBEAF5-2398-4024-AC0F-CDD05EDF6693}" type="sibTrans" cxnId="{DC3E0A96-D11C-4D03-A837-26459F76FBB4}">
      <dgm:prSet/>
      <dgm:spPr/>
      <dgm:t>
        <a:bodyPr/>
        <a:lstStyle/>
        <a:p>
          <a:endParaRPr lang="ru-RU"/>
        </a:p>
      </dgm:t>
    </dgm:pt>
    <dgm:pt modelId="{B06DBDB5-12C4-48CA-B9AC-00CCB0A9E4B9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Дорожная сеть</a:t>
          </a:r>
          <a:endParaRPr lang="ru-RU" sz="1200" dirty="0"/>
        </a:p>
      </dgm:t>
    </dgm:pt>
    <dgm:pt modelId="{B23E8F34-FB32-400D-92D6-98B9109AB914}" type="parTrans" cxnId="{75A30B6B-0A5E-46EF-B168-DC58972423DB}">
      <dgm:prSet/>
      <dgm:spPr/>
      <dgm:t>
        <a:bodyPr/>
        <a:lstStyle/>
        <a:p>
          <a:endParaRPr lang="ru-RU"/>
        </a:p>
      </dgm:t>
    </dgm:pt>
    <dgm:pt modelId="{6FC716C8-34AF-4E69-9A51-AB2C5EEEA2DE}" type="sibTrans" cxnId="{75A30B6B-0A5E-46EF-B168-DC58972423DB}">
      <dgm:prSet/>
      <dgm:spPr/>
      <dgm:t>
        <a:bodyPr/>
        <a:lstStyle/>
        <a:p>
          <a:endParaRPr lang="ru-RU"/>
        </a:p>
      </dgm:t>
    </dgm:pt>
    <dgm:pt modelId="{5B87E8F6-7908-46A2-8DD1-232B49D1CBE7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Общесистемные меры развития дорожного хозяйства</a:t>
          </a:r>
          <a:endParaRPr lang="ru-RU" sz="1200" dirty="0"/>
        </a:p>
      </dgm:t>
    </dgm:pt>
    <dgm:pt modelId="{815743B0-7217-40AD-BBE2-5B4CDD417152}" type="parTrans" cxnId="{4745A441-6F32-4F54-BBB0-6236FE74DB1B}">
      <dgm:prSet/>
      <dgm:spPr/>
      <dgm:t>
        <a:bodyPr/>
        <a:lstStyle/>
        <a:p>
          <a:endParaRPr lang="ru-RU"/>
        </a:p>
      </dgm:t>
    </dgm:pt>
    <dgm:pt modelId="{19C17832-1204-44A4-86E6-DD53C64C7F0D}" type="sibTrans" cxnId="{4745A441-6F32-4F54-BBB0-6236FE74DB1B}">
      <dgm:prSet/>
      <dgm:spPr/>
      <dgm:t>
        <a:bodyPr/>
        <a:lstStyle/>
        <a:p>
          <a:endParaRPr lang="ru-RU"/>
        </a:p>
      </dgm:t>
    </dgm:pt>
    <dgm:pt modelId="{80EF884C-6E84-4BE4-8B15-34B26953A279}">
      <dgm:prSet phldrT="[Текст]" custT="1"/>
      <dgm:spPr/>
      <dgm:t>
        <a:bodyPr/>
        <a:lstStyle/>
        <a:p>
          <a:pPr algn="ctr"/>
          <a:r>
            <a:rPr lang="ru-RU" sz="1400" b="1" dirty="0" smtClean="0"/>
            <a:t>Жилье и городская среда</a:t>
          </a:r>
          <a:endParaRPr lang="ru-RU" sz="1400" b="1" dirty="0"/>
        </a:p>
      </dgm:t>
    </dgm:pt>
    <dgm:pt modelId="{B527627B-161E-4D0B-B9B7-6C4038CD0366}" type="parTrans" cxnId="{7F497C8C-0F04-495D-9FB7-CA24F0C13B04}">
      <dgm:prSet/>
      <dgm:spPr/>
      <dgm:t>
        <a:bodyPr/>
        <a:lstStyle/>
        <a:p>
          <a:endParaRPr lang="ru-RU"/>
        </a:p>
      </dgm:t>
    </dgm:pt>
    <dgm:pt modelId="{12C84A72-1938-42FA-A28B-F464B849C5DD}" type="sibTrans" cxnId="{7F497C8C-0F04-495D-9FB7-CA24F0C13B04}">
      <dgm:prSet/>
      <dgm:spPr/>
      <dgm:t>
        <a:bodyPr/>
        <a:lstStyle/>
        <a:p>
          <a:endParaRPr lang="ru-RU"/>
        </a:p>
      </dgm:t>
    </dgm:pt>
    <dgm:pt modelId="{A60D904E-DA25-46CD-A068-73C291425D63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Жилье</a:t>
          </a:r>
          <a:endParaRPr lang="ru-RU" sz="1200" dirty="0"/>
        </a:p>
      </dgm:t>
    </dgm:pt>
    <dgm:pt modelId="{BF8E0BA1-72E1-4E82-A13A-3DCA636D7808}" type="parTrans" cxnId="{4A564D56-D626-44D7-9440-7A76DA498B13}">
      <dgm:prSet/>
      <dgm:spPr/>
      <dgm:t>
        <a:bodyPr/>
        <a:lstStyle/>
        <a:p>
          <a:endParaRPr lang="ru-RU"/>
        </a:p>
      </dgm:t>
    </dgm:pt>
    <dgm:pt modelId="{DB5F76C7-B66C-4D00-87C5-8679E4F3A600}" type="sibTrans" cxnId="{4A564D56-D626-44D7-9440-7A76DA498B13}">
      <dgm:prSet/>
      <dgm:spPr/>
      <dgm:t>
        <a:bodyPr/>
        <a:lstStyle/>
        <a:p>
          <a:endParaRPr lang="ru-RU"/>
        </a:p>
      </dgm:t>
    </dgm:pt>
    <dgm:pt modelId="{353CF203-443B-492D-8798-0549045FD293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Обеспечение устойчивого сокращения непригодного для проживания жилищного фонда</a:t>
          </a:r>
          <a:endParaRPr lang="ru-RU" sz="1200" dirty="0"/>
        </a:p>
      </dgm:t>
    </dgm:pt>
    <dgm:pt modelId="{F394130B-E7C5-4DAE-8084-F54C73777D2C}" type="parTrans" cxnId="{D471795A-C472-4B19-9D16-5C115FA3B63D}">
      <dgm:prSet/>
      <dgm:spPr/>
      <dgm:t>
        <a:bodyPr/>
        <a:lstStyle/>
        <a:p>
          <a:endParaRPr lang="ru-RU"/>
        </a:p>
      </dgm:t>
    </dgm:pt>
    <dgm:pt modelId="{EF8F30E8-52ED-48E3-979F-9AA637D0460B}" type="sibTrans" cxnId="{D471795A-C472-4B19-9D16-5C115FA3B63D}">
      <dgm:prSet/>
      <dgm:spPr/>
      <dgm:t>
        <a:bodyPr/>
        <a:lstStyle/>
        <a:p>
          <a:endParaRPr lang="ru-RU"/>
        </a:p>
      </dgm:t>
    </dgm:pt>
    <dgm:pt modelId="{439C13D3-D03B-47FC-ABFF-E5355A0AA64B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Формирование комфортной городской среды</a:t>
          </a:r>
          <a:endParaRPr lang="ru-RU" sz="1200" dirty="0"/>
        </a:p>
      </dgm:t>
    </dgm:pt>
    <dgm:pt modelId="{9F5C35AB-F4FB-43A9-A755-E6DCFFA3A981}" type="parTrans" cxnId="{26A0E201-7CB3-4358-9562-60E7627C5EFD}">
      <dgm:prSet/>
      <dgm:spPr/>
      <dgm:t>
        <a:bodyPr/>
        <a:lstStyle/>
        <a:p>
          <a:endParaRPr lang="ru-RU"/>
        </a:p>
      </dgm:t>
    </dgm:pt>
    <dgm:pt modelId="{C948383B-0D4C-4B82-9266-27B8F9C17C43}" type="sibTrans" cxnId="{26A0E201-7CB3-4358-9562-60E7627C5EFD}">
      <dgm:prSet/>
      <dgm:spPr/>
      <dgm:t>
        <a:bodyPr/>
        <a:lstStyle/>
        <a:p>
          <a:endParaRPr lang="ru-RU"/>
        </a:p>
      </dgm:t>
    </dgm:pt>
    <dgm:pt modelId="{6887B24E-879F-478E-9A48-B66DC69E18DE}">
      <dgm:prSet phldrT="[Текст]" custT="1"/>
      <dgm:spPr/>
      <dgm:t>
        <a:bodyPr/>
        <a:lstStyle/>
        <a:p>
          <a:pPr algn="ctr"/>
          <a:r>
            <a:rPr lang="ru-RU" sz="1400" b="1" dirty="0" smtClean="0"/>
            <a:t>Экология</a:t>
          </a:r>
          <a:endParaRPr lang="ru-RU" sz="1400" b="1" dirty="0"/>
        </a:p>
      </dgm:t>
    </dgm:pt>
    <dgm:pt modelId="{D11C8404-D63A-4D06-9CA6-996D8973DF3A}" type="parTrans" cxnId="{26685EC1-E466-4062-8ED7-067B4A8BFF30}">
      <dgm:prSet/>
      <dgm:spPr/>
      <dgm:t>
        <a:bodyPr/>
        <a:lstStyle/>
        <a:p>
          <a:endParaRPr lang="ru-RU"/>
        </a:p>
      </dgm:t>
    </dgm:pt>
    <dgm:pt modelId="{2A49A6F7-A4F4-41CA-8237-8EF88A927B74}" type="sibTrans" cxnId="{26685EC1-E466-4062-8ED7-067B4A8BFF30}">
      <dgm:prSet/>
      <dgm:spPr/>
      <dgm:t>
        <a:bodyPr/>
        <a:lstStyle/>
        <a:p>
          <a:endParaRPr lang="ru-RU"/>
        </a:p>
      </dgm:t>
    </dgm:pt>
    <dgm:pt modelId="{D4CFE1E8-24B8-45C4-994A-2F788C932019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Сохранение уникальных водных объектов</a:t>
          </a:r>
          <a:endParaRPr lang="ru-RU" sz="1200" dirty="0"/>
        </a:p>
      </dgm:t>
    </dgm:pt>
    <dgm:pt modelId="{DC6FD8D6-DCD8-4003-B39B-CCAFE420FEE0}" type="parTrans" cxnId="{0EDE1C06-DA34-41DA-B47A-0D5EF2FBB3C1}">
      <dgm:prSet/>
      <dgm:spPr/>
      <dgm:t>
        <a:bodyPr/>
        <a:lstStyle/>
        <a:p>
          <a:endParaRPr lang="ru-RU"/>
        </a:p>
      </dgm:t>
    </dgm:pt>
    <dgm:pt modelId="{7246DD03-D73F-4DBA-8B62-3167961F9A75}" type="sibTrans" cxnId="{0EDE1C06-DA34-41DA-B47A-0D5EF2FBB3C1}">
      <dgm:prSet/>
      <dgm:spPr/>
      <dgm:t>
        <a:bodyPr/>
        <a:lstStyle/>
        <a:p>
          <a:endParaRPr lang="ru-RU"/>
        </a:p>
      </dgm:t>
    </dgm:pt>
    <dgm:pt modelId="{5DA36600-1FFD-4009-9FB6-9881B4FE0C98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Чистая вода</a:t>
          </a:r>
          <a:endParaRPr lang="ru-RU" sz="1200" dirty="0"/>
        </a:p>
      </dgm:t>
    </dgm:pt>
    <dgm:pt modelId="{CB8FEA58-0B73-414F-9A4C-AB4DCE4D64DD}" type="parTrans" cxnId="{113809F8-19CC-4142-950E-4C720F4E2ADB}">
      <dgm:prSet/>
      <dgm:spPr/>
      <dgm:t>
        <a:bodyPr/>
        <a:lstStyle/>
        <a:p>
          <a:endParaRPr lang="ru-RU"/>
        </a:p>
      </dgm:t>
    </dgm:pt>
    <dgm:pt modelId="{98889A01-B7A6-4325-9D7F-E1ADCC618E26}" type="sibTrans" cxnId="{113809F8-19CC-4142-950E-4C720F4E2ADB}">
      <dgm:prSet/>
      <dgm:spPr/>
      <dgm:t>
        <a:bodyPr/>
        <a:lstStyle/>
        <a:p>
          <a:endParaRPr lang="ru-RU"/>
        </a:p>
      </dgm:t>
    </dgm:pt>
    <dgm:pt modelId="{EEBAE17C-E046-4D70-A7E9-05A39C4B1FB4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200" dirty="0" smtClean="0"/>
            <a:t>Чистая страна</a:t>
          </a:r>
          <a:endParaRPr lang="ru-RU" sz="1200" dirty="0"/>
        </a:p>
      </dgm:t>
    </dgm:pt>
    <dgm:pt modelId="{5EA288EB-8BFB-40C7-87E8-D7873BBD9C7A}" type="parTrans" cxnId="{CD7D0DC0-CD81-4E6A-BE7C-6835CCC6F482}">
      <dgm:prSet/>
      <dgm:spPr/>
      <dgm:t>
        <a:bodyPr/>
        <a:lstStyle/>
        <a:p>
          <a:endParaRPr lang="ru-RU"/>
        </a:p>
      </dgm:t>
    </dgm:pt>
    <dgm:pt modelId="{583F43AD-5296-43BA-9590-9DD49B2E71F1}" type="sibTrans" cxnId="{CD7D0DC0-CD81-4E6A-BE7C-6835CCC6F482}">
      <dgm:prSet/>
      <dgm:spPr/>
      <dgm:t>
        <a:bodyPr/>
        <a:lstStyle/>
        <a:p>
          <a:endParaRPr lang="ru-RU"/>
        </a:p>
      </dgm:t>
    </dgm:pt>
    <dgm:pt modelId="{55ACCFB7-5490-4993-99B6-21974DA4928B}" type="pres">
      <dgm:prSet presAssocID="{82FC2365-A5A3-4D12-B491-C2714643FA58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622AE2C-43C5-46EF-820A-D51D1D525762}" type="pres">
      <dgm:prSet presAssocID="{7E374735-67A5-4695-8D96-680ED35429D3}" presName="compNode" presStyleCnt="0"/>
      <dgm:spPr/>
    </dgm:pt>
    <dgm:pt modelId="{1355A422-E95A-4EA2-BFB5-F6F7AFE90A0F}" type="pres">
      <dgm:prSet presAssocID="{7E374735-67A5-4695-8D96-680ED35429D3}" presName="childRect" presStyleLbl="bgAcc1" presStyleIdx="0" presStyleCnt="7" custScaleX="144205" custLinFactX="139504" custLinFactY="94870" custLinFactNeighborX="20000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3DAE52-2477-4A17-9987-F0D468196C76}" type="pres">
      <dgm:prSet presAssocID="{7E374735-67A5-4695-8D96-680ED35429D3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52304D-02B6-4956-B64D-7346C7A81F40}" type="pres">
      <dgm:prSet presAssocID="{7E374735-67A5-4695-8D96-680ED35429D3}" presName="parentRect" presStyleLbl="alignNode1" presStyleIdx="0" presStyleCnt="7" custScaleX="145328" custLinFactX="140066" custLinFactY="200000" custLinFactNeighborX="200000" custLinFactNeighborY="254863"/>
      <dgm:spPr/>
      <dgm:t>
        <a:bodyPr/>
        <a:lstStyle/>
        <a:p>
          <a:endParaRPr lang="ru-RU"/>
        </a:p>
      </dgm:t>
    </dgm:pt>
    <dgm:pt modelId="{D310F6D5-4173-4EEE-A8A8-93D9A368CD2B}" type="pres">
      <dgm:prSet presAssocID="{7E374735-67A5-4695-8D96-680ED35429D3}" presName="adorn" presStyleLbl="fgAccFollowNode1" presStyleIdx="0" presStyleCnt="7" custLinFactX="500000" custLinFactY="200000" custLinFactNeighborX="536757" custLinFactNeighborY="21389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75094F1-7D19-4667-889A-8C5137BDC32D}" type="pres">
      <dgm:prSet presAssocID="{DF4688F8-FF83-4B7D-AE9D-57FE2014423B}" presName="sibTrans" presStyleLbl="sibTrans2D1" presStyleIdx="0" presStyleCnt="0"/>
      <dgm:spPr/>
      <dgm:t>
        <a:bodyPr/>
        <a:lstStyle/>
        <a:p>
          <a:endParaRPr lang="ru-RU"/>
        </a:p>
      </dgm:t>
    </dgm:pt>
    <dgm:pt modelId="{66549494-9C4B-4BEE-9624-D7E64EEC5BBE}" type="pres">
      <dgm:prSet presAssocID="{BA64F632-2FB3-4F4C-8D04-34359861AD08}" presName="compNode" presStyleCnt="0"/>
      <dgm:spPr/>
    </dgm:pt>
    <dgm:pt modelId="{4A20F7A8-E975-46D9-9E93-7B24E1764CDF}" type="pres">
      <dgm:prSet presAssocID="{BA64F632-2FB3-4F4C-8D04-34359861AD08}" presName="childRect" presStyleLbl="bgAcc1" presStyleIdx="1" presStyleCnt="7" custLinFactY="94870" custLinFactNeighborX="75266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D0A237-562B-4F4A-A5FF-5C2C69C38457}" type="pres">
      <dgm:prSet presAssocID="{BA64F632-2FB3-4F4C-8D04-34359861AD08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ADC374-B603-4C8D-9C95-016E9D0EF2DC}" type="pres">
      <dgm:prSet presAssocID="{BA64F632-2FB3-4F4C-8D04-34359861AD08}" presName="parentRect" presStyleLbl="alignNode1" presStyleIdx="1" presStyleCnt="7" custLinFactY="200000" custLinFactNeighborX="75266" custLinFactNeighborY="254863"/>
      <dgm:spPr/>
      <dgm:t>
        <a:bodyPr/>
        <a:lstStyle/>
        <a:p>
          <a:endParaRPr lang="ru-RU"/>
        </a:p>
      </dgm:t>
    </dgm:pt>
    <dgm:pt modelId="{08BBBA4D-B307-48C7-A567-9B7BFDD1E6DE}" type="pres">
      <dgm:prSet presAssocID="{BA64F632-2FB3-4F4C-8D04-34359861AD08}" presName="adorn" presStyleLbl="fgAccFollowNode1" presStyleIdx="1" presStyleCnt="7" custLinFactX="100000" custLinFactY="200000" custLinFactNeighborX="109267" custLinFactNeighborY="213895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B2BE496-8BCF-4357-8D16-B643999D6F35}" type="pres">
      <dgm:prSet presAssocID="{B53C74A7-9012-4DD1-83A9-812B6D389120}" presName="sibTrans" presStyleLbl="sibTrans2D1" presStyleIdx="0" presStyleCnt="0"/>
      <dgm:spPr/>
      <dgm:t>
        <a:bodyPr/>
        <a:lstStyle/>
        <a:p>
          <a:endParaRPr lang="ru-RU"/>
        </a:p>
      </dgm:t>
    </dgm:pt>
    <dgm:pt modelId="{F5AECDAA-9B5C-4FC2-8517-7A2ED8084E57}" type="pres">
      <dgm:prSet presAssocID="{229733B2-3191-48AD-8516-2694907F9561}" presName="compNode" presStyleCnt="0"/>
      <dgm:spPr/>
    </dgm:pt>
    <dgm:pt modelId="{605FB9D6-B685-4FAE-AA86-02134E08D8EC}" type="pres">
      <dgm:prSet presAssocID="{229733B2-3191-48AD-8516-2694907F9561}" presName="childRect" presStyleLbl="bgAcc1" presStyleIdx="2" presStyleCnt="7" custLinFactX="-100000" custLinFactNeighborX="-147429" custLinFactNeighborY="40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19A7ED-3CDF-4CA2-93BF-2389E9EC496B}" type="pres">
      <dgm:prSet presAssocID="{229733B2-3191-48AD-8516-2694907F9561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AADFE7-FEE9-4AF8-8DCB-04FEC971B82A}" type="pres">
      <dgm:prSet presAssocID="{229733B2-3191-48AD-8516-2694907F9561}" presName="parentRect" presStyleLbl="alignNode1" presStyleIdx="2" presStyleCnt="7" custLinFactX="-100000" custLinFactNeighborX="-147429" custLinFactNeighborY="11050"/>
      <dgm:spPr/>
      <dgm:t>
        <a:bodyPr/>
        <a:lstStyle/>
        <a:p>
          <a:endParaRPr lang="ru-RU"/>
        </a:p>
      </dgm:t>
    </dgm:pt>
    <dgm:pt modelId="{89D06D79-8695-423E-A10F-6F7E9956404D}" type="pres">
      <dgm:prSet presAssocID="{229733B2-3191-48AD-8516-2694907F9561}" presName="adorn" presStyleLbl="fgAccFollowNode1" presStyleIdx="2" presStyleCnt="7" custLinFactX="-312718" custLinFactNeighborX="-400000" custLinFactNeighborY="2098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542503BE-EA87-4C9C-9F03-E7781103F6F6}" type="pres">
      <dgm:prSet presAssocID="{0209940E-5E29-4993-8815-109CB83470EF}" presName="sibTrans" presStyleLbl="sibTrans2D1" presStyleIdx="0" presStyleCnt="0"/>
      <dgm:spPr/>
      <dgm:t>
        <a:bodyPr/>
        <a:lstStyle/>
        <a:p>
          <a:endParaRPr lang="ru-RU"/>
        </a:p>
      </dgm:t>
    </dgm:pt>
    <dgm:pt modelId="{77D5306F-B646-4E39-A689-3A9669EE6FE2}" type="pres">
      <dgm:prSet presAssocID="{6887B24E-879F-478E-9A48-B66DC69E18DE}" presName="compNode" presStyleCnt="0"/>
      <dgm:spPr/>
    </dgm:pt>
    <dgm:pt modelId="{01F79FA9-4632-42EE-ADB9-E01CFBD27871}" type="pres">
      <dgm:prSet presAssocID="{6887B24E-879F-478E-9A48-B66DC69E18DE}" presName="childRect" presStyleLbl="bgAcc1" presStyleIdx="3" presStyleCnt="7" custLinFactX="-184137" custLinFactY="94870" custLinFactNeighborX="-20000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C3598B-3CB9-432A-8E4D-091107B603BD}" type="pres">
      <dgm:prSet presAssocID="{6887B24E-879F-478E-9A48-B66DC69E18DE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3169CD-F15A-4081-B451-5A936ACE05F3}" type="pres">
      <dgm:prSet presAssocID="{6887B24E-879F-478E-9A48-B66DC69E18DE}" presName="parentRect" presStyleLbl="alignNode1" presStyleIdx="3" presStyleCnt="7" custLinFactX="-184137" custLinFactY="200000" custLinFactNeighborX="-200000" custLinFactNeighborY="254863"/>
      <dgm:spPr/>
      <dgm:t>
        <a:bodyPr/>
        <a:lstStyle/>
        <a:p>
          <a:endParaRPr lang="ru-RU"/>
        </a:p>
      </dgm:t>
    </dgm:pt>
    <dgm:pt modelId="{C5B71921-ADA2-407C-BBD2-C61573339487}" type="pres">
      <dgm:prSet presAssocID="{6887B24E-879F-478E-9A48-B66DC69E18DE}" presName="adorn" presStyleLbl="fgAccFollowNode1" presStyleIdx="3" presStyleCnt="7" custLinFactX="-503313" custLinFactY="200000" custLinFactNeighborX="-600000" custLinFactNeighborY="213895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5C6A1BF9-3B37-450C-BE3E-F4409467AE38}" type="pres">
      <dgm:prSet presAssocID="{2A49A6F7-A4F4-41CA-8237-8EF88A927B74}" presName="sibTrans" presStyleLbl="sibTrans2D1" presStyleIdx="0" presStyleCnt="0"/>
      <dgm:spPr/>
      <dgm:t>
        <a:bodyPr/>
        <a:lstStyle/>
        <a:p>
          <a:endParaRPr lang="ru-RU"/>
        </a:p>
      </dgm:t>
    </dgm:pt>
    <dgm:pt modelId="{20080D40-2796-45C2-8BD3-CB6B5EA91ADE}" type="pres">
      <dgm:prSet presAssocID="{987FAD53-DAD3-4196-B5A7-94D888144C16}" presName="compNode" presStyleCnt="0"/>
      <dgm:spPr/>
    </dgm:pt>
    <dgm:pt modelId="{FD9A4DB6-A8E0-4A7F-BF72-7DE87BE54D29}" type="pres">
      <dgm:prSet presAssocID="{987FAD53-DAD3-4196-B5A7-94D888144C16}" presName="childRect" presStyleLbl="bgAcc1" presStyleIdx="4" presStyleCnt="7" custScaleX="142082" custScaleY="122749" custLinFactX="10580" custLinFactY="-94113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19F318-A06A-470B-842E-73CD881C711A}" type="pres">
      <dgm:prSet presAssocID="{987FAD53-DAD3-4196-B5A7-94D888144C16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C9F9C5-5884-4FED-ADA6-98F83ACE0B37}" type="pres">
      <dgm:prSet presAssocID="{987FAD53-DAD3-4196-B5A7-94D888144C16}" presName="parentRect" presStyleLbl="alignNode1" presStyleIdx="4" presStyleCnt="7" custScaleX="142082" custLinFactX="10580" custLinFactY="-200000" custLinFactNeighborX="100000" custLinFactNeighborY="-226888"/>
      <dgm:spPr/>
      <dgm:t>
        <a:bodyPr/>
        <a:lstStyle/>
        <a:p>
          <a:endParaRPr lang="ru-RU"/>
        </a:p>
      </dgm:t>
    </dgm:pt>
    <dgm:pt modelId="{6705576F-2388-4A72-ABF6-6C0D88D025AD}" type="pres">
      <dgm:prSet presAssocID="{987FAD53-DAD3-4196-B5A7-94D888144C16}" presName="adorn" presStyleLbl="fgAccFollowNode1" presStyleIdx="4" presStyleCnt="7" custLinFactX="185722" custLinFactY="-199537" custLinFactNeighborX="200000" custLinFactNeighborY="-200000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745A2BB0-2195-426C-B7BC-8C4521890DC0}" type="pres">
      <dgm:prSet presAssocID="{61E5096A-6C12-4E53-99F5-D63C600B3E34}" presName="sibTrans" presStyleLbl="sibTrans2D1" presStyleIdx="0" presStyleCnt="0"/>
      <dgm:spPr/>
      <dgm:t>
        <a:bodyPr/>
        <a:lstStyle/>
        <a:p>
          <a:endParaRPr lang="ru-RU"/>
        </a:p>
      </dgm:t>
    </dgm:pt>
    <dgm:pt modelId="{5CB1CF45-AE69-4720-B88D-8DE0402CC08F}" type="pres">
      <dgm:prSet presAssocID="{6B64EC12-E198-41C9-A000-37603B3ABB97}" presName="compNode" presStyleCnt="0"/>
      <dgm:spPr/>
    </dgm:pt>
    <dgm:pt modelId="{4C27D020-6256-453C-8B6E-5897B3F24171}" type="pres">
      <dgm:prSet presAssocID="{6B64EC12-E198-41C9-A000-37603B3ABB97}" presName="childRect" presStyleLbl="bgAcc1" presStyleIdx="5" presStyleCnt="7" custLinFactNeighborX="-75787" custLinFactNeighborY="122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2D8CF3-D587-4FD4-9E08-656837E159A0}" type="pres">
      <dgm:prSet presAssocID="{6B64EC12-E198-41C9-A000-37603B3ABB97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2A4E48-12E9-4BE1-ABCB-71B5CCD5EE59}" type="pres">
      <dgm:prSet presAssocID="{6B64EC12-E198-41C9-A000-37603B3ABB97}" presName="parentRect" presStyleLbl="alignNode1" presStyleIdx="5" presStyleCnt="7" custLinFactNeighborX="-75787" custLinFactNeighborY="30151"/>
      <dgm:spPr/>
      <dgm:t>
        <a:bodyPr/>
        <a:lstStyle/>
        <a:p>
          <a:endParaRPr lang="ru-RU"/>
        </a:p>
      </dgm:t>
    </dgm:pt>
    <dgm:pt modelId="{497E5005-20A5-4D8A-AB1F-41696B8837E6}" type="pres">
      <dgm:prSet presAssocID="{6B64EC12-E198-41C9-A000-37603B3ABB97}" presName="adorn" presStyleLbl="fgAccFollowNode1" presStyleIdx="5" presStyleCnt="7" custLinFactX="-100000" custLinFactNeighborX="-122314" custLinFactNeighborY="24390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F2E631AB-61C9-402C-A75A-1E7534F0C188}" type="pres">
      <dgm:prSet presAssocID="{94BBEAF5-2398-4024-AC0F-CDD05EDF6693}" presName="sibTrans" presStyleLbl="sibTrans2D1" presStyleIdx="0" presStyleCnt="0"/>
      <dgm:spPr/>
      <dgm:t>
        <a:bodyPr/>
        <a:lstStyle/>
        <a:p>
          <a:endParaRPr lang="ru-RU"/>
        </a:p>
      </dgm:t>
    </dgm:pt>
    <dgm:pt modelId="{50C0331B-0BB8-4A44-A77B-D2E04E77ECD1}" type="pres">
      <dgm:prSet presAssocID="{80EF884C-6E84-4BE4-8B15-34B26953A279}" presName="compNode" presStyleCnt="0"/>
      <dgm:spPr/>
    </dgm:pt>
    <dgm:pt modelId="{4C266DE5-27CE-4A10-B262-4E03BF3F8948}" type="pres">
      <dgm:prSet presAssocID="{80EF884C-6E84-4BE4-8B15-34B26953A279}" presName="childRect" presStyleLbl="bgAcc1" presStyleIdx="6" presStyleCnt="7" custScaleX="141422" custLinFactY="-78596" custLinFactNeighborX="13063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4439D1-DE6D-4E7D-A7C9-28658E26A11A}" type="pres">
      <dgm:prSet presAssocID="{80EF884C-6E84-4BE4-8B15-34B26953A279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2EA329-3186-44BD-9925-C43FA287536A}" type="pres">
      <dgm:prSet presAssocID="{80EF884C-6E84-4BE4-8B15-34B26953A279}" presName="parentRect" presStyleLbl="alignNode1" presStyleIdx="6" presStyleCnt="7" custScaleX="141422" custLinFactY="-200000" custLinFactNeighborX="13063" custLinFactNeighborY="-213662"/>
      <dgm:spPr/>
      <dgm:t>
        <a:bodyPr/>
        <a:lstStyle/>
        <a:p>
          <a:endParaRPr lang="ru-RU"/>
        </a:p>
      </dgm:t>
    </dgm:pt>
    <dgm:pt modelId="{A2DA8778-F147-4E3B-BAE8-6FB0065B6E47}" type="pres">
      <dgm:prSet presAssocID="{80EF884C-6E84-4BE4-8B15-34B26953A279}" presName="adorn" presStyleLbl="fgAccFollowNode1" presStyleIdx="6" presStyleCnt="7" custLinFactY="-187407" custLinFactNeighborX="96737" custLinFactNeighborY="-200000"/>
      <dgm:spPr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D471795A-C472-4B19-9D16-5C115FA3B63D}" srcId="{80EF884C-6E84-4BE4-8B15-34B26953A279}" destId="{353CF203-443B-492D-8798-0549045FD293}" srcOrd="1" destOrd="0" parTransId="{F394130B-E7C5-4DAE-8084-F54C73777D2C}" sibTransId="{EF8F30E8-52ED-48E3-979F-9AA637D0460B}"/>
    <dgm:cxn modelId="{CD7D0DC0-CD81-4E6A-BE7C-6835CCC6F482}" srcId="{6887B24E-879F-478E-9A48-B66DC69E18DE}" destId="{EEBAE17C-E046-4D70-A7E9-05A39C4B1FB4}" srcOrd="2" destOrd="0" parTransId="{5EA288EB-8BFB-40C7-87E8-D7873BBD9C7A}" sibTransId="{583F43AD-5296-43BA-9590-9DD49B2E71F1}"/>
    <dgm:cxn modelId="{8D641CB4-8F45-4DDC-A9E3-DC3B50FEA16B}" type="presOf" srcId="{94BBEAF5-2398-4024-AC0F-CDD05EDF6693}" destId="{F2E631AB-61C9-402C-A75A-1E7534F0C188}" srcOrd="0" destOrd="0" presId="urn:microsoft.com/office/officeart/2005/8/layout/bList2#1"/>
    <dgm:cxn modelId="{13905691-CF5D-447B-BA8F-659BE547EF8E}" type="presOf" srcId="{80EF884C-6E84-4BE4-8B15-34B26953A279}" destId="{B34439D1-DE6D-4E7D-A7C9-28658E26A11A}" srcOrd="0" destOrd="0" presId="urn:microsoft.com/office/officeart/2005/8/layout/bList2#1"/>
    <dgm:cxn modelId="{26A0E201-7CB3-4358-9562-60E7627C5EFD}" srcId="{80EF884C-6E84-4BE4-8B15-34B26953A279}" destId="{439C13D3-D03B-47FC-ABFF-E5355A0AA64B}" srcOrd="2" destOrd="0" parTransId="{9F5C35AB-F4FB-43A9-A755-E6DCFFA3A981}" sibTransId="{C948383B-0D4C-4B82-9266-27B8F9C17C43}"/>
    <dgm:cxn modelId="{4745A441-6F32-4F54-BBB0-6236FE74DB1B}" srcId="{6B64EC12-E198-41C9-A000-37603B3ABB97}" destId="{5B87E8F6-7908-46A2-8DD1-232B49D1CBE7}" srcOrd="1" destOrd="0" parTransId="{815743B0-7217-40AD-BBE2-5B4CDD417152}" sibTransId="{19C17832-1204-44A4-86E6-DD53C64C7F0D}"/>
    <dgm:cxn modelId="{537E9F4B-9E63-44A5-B3BF-2A41FE547B3F}" type="presOf" srcId="{80EF884C-6E84-4BE4-8B15-34B26953A279}" destId="{672EA329-3186-44BD-9925-C43FA287536A}" srcOrd="1" destOrd="0" presId="urn:microsoft.com/office/officeart/2005/8/layout/bList2#1"/>
    <dgm:cxn modelId="{4A564D56-D626-44D7-9440-7A76DA498B13}" srcId="{80EF884C-6E84-4BE4-8B15-34B26953A279}" destId="{A60D904E-DA25-46CD-A068-73C291425D63}" srcOrd="0" destOrd="0" parTransId="{BF8E0BA1-72E1-4E82-A13A-3DCA636D7808}" sibTransId="{DB5F76C7-B66C-4D00-87C5-8679E4F3A600}"/>
    <dgm:cxn modelId="{D0A047D5-FA6E-442B-A508-68F6CD1AEACD}" srcId="{987FAD53-DAD3-4196-B5A7-94D888144C16}" destId="{09B9E08F-AE8F-46D8-B108-384B8CC089F1}" srcOrd="4" destOrd="0" parTransId="{0A265827-7ABA-4F50-BA7B-CB9EFF602D1F}" sibTransId="{796D483C-E8B0-4826-BFBE-710281B7047F}"/>
    <dgm:cxn modelId="{9632BA57-554E-46C0-BB5A-923A2C88CEE4}" type="presOf" srcId="{6B64EC12-E198-41C9-A000-37603B3ABB97}" destId="{3A2D8CF3-D587-4FD4-9E08-656837E159A0}" srcOrd="0" destOrd="0" presId="urn:microsoft.com/office/officeart/2005/8/layout/bList2#1"/>
    <dgm:cxn modelId="{950F387E-8A7A-4203-84F7-F0FAEE11309D}" type="presOf" srcId="{DDCDAD82-7CDD-49B3-9510-4460EDA58BCD}" destId="{1355A422-E95A-4EA2-BFB5-F6F7AFE90A0F}" srcOrd="0" destOrd="0" presId="urn:microsoft.com/office/officeart/2005/8/layout/bList2#1"/>
    <dgm:cxn modelId="{61C90B97-EA7B-4E14-B36E-6C8911B84EDA}" type="presOf" srcId="{7BE8B2BD-4362-4452-8CC4-8A38D453638F}" destId="{FD9A4DB6-A8E0-4A7F-BF72-7DE87BE54D29}" srcOrd="0" destOrd="1" presId="urn:microsoft.com/office/officeart/2005/8/layout/bList2#1"/>
    <dgm:cxn modelId="{75A30B6B-0A5E-46EF-B168-DC58972423DB}" srcId="{6B64EC12-E198-41C9-A000-37603B3ABB97}" destId="{B06DBDB5-12C4-48CA-B9AC-00CCB0A9E4B9}" srcOrd="0" destOrd="0" parTransId="{B23E8F34-FB32-400D-92D6-98B9109AB914}" sibTransId="{6FC716C8-34AF-4E69-9A51-AB2C5EEEA2DE}"/>
    <dgm:cxn modelId="{A8413B6B-AEB0-44D1-9E84-025A0DC5E4F4}" type="presOf" srcId="{B4CD6599-135D-4353-BEBD-2C2EE3640C08}" destId="{FD9A4DB6-A8E0-4A7F-BF72-7DE87BE54D29}" srcOrd="0" destOrd="5" presId="urn:microsoft.com/office/officeart/2005/8/layout/bList2#1"/>
    <dgm:cxn modelId="{504A9A8A-A241-41B6-AC6A-082C20660E9B}" srcId="{82FC2365-A5A3-4D12-B491-C2714643FA58}" destId="{987FAD53-DAD3-4196-B5A7-94D888144C16}" srcOrd="4" destOrd="0" parTransId="{6C4A1F3F-AE03-4DE7-A775-BDDA7833D344}" sibTransId="{61E5096A-6C12-4E53-99F5-D63C600B3E34}"/>
    <dgm:cxn modelId="{2EC21803-D625-4DDD-994D-0F7B00B6B181}" type="presOf" srcId="{3200E0B0-694F-43B7-B32B-2A202FB131D7}" destId="{FD9A4DB6-A8E0-4A7F-BF72-7DE87BE54D29}" srcOrd="0" destOrd="2" presId="urn:microsoft.com/office/officeart/2005/8/layout/bList2#1"/>
    <dgm:cxn modelId="{33980D2A-B12C-4966-9CD7-52F998356D0F}" type="presOf" srcId="{61E5096A-6C12-4E53-99F5-D63C600B3E34}" destId="{745A2BB0-2195-426C-B7BC-8C4521890DC0}" srcOrd="0" destOrd="0" presId="urn:microsoft.com/office/officeart/2005/8/layout/bList2#1"/>
    <dgm:cxn modelId="{0A15B77E-FCE8-41A6-AC05-60AF8EB39302}" srcId="{229733B2-3191-48AD-8516-2694907F9561}" destId="{1E1C0375-25C1-45FF-802D-0BA9BAA11637}" srcOrd="0" destOrd="0" parTransId="{2E1BED0D-63A7-412E-B7BE-8C422171B4D7}" sibTransId="{AB1BD877-8CB3-47FD-A647-1A31B4169748}"/>
    <dgm:cxn modelId="{113809F8-19CC-4142-950E-4C720F4E2ADB}" srcId="{6887B24E-879F-478E-9A48-B66DC69E18DE}" destId="{5DA36600-1FFD-4009-9FB6-9881B4FE0C98}" srcOrd="1" destOrd="0" parTransId="{CB8FEA58-0B73-414F-9A4C-AB4DCE4D64DD}" sibTransId="{98889A01-B7A6-4325-9D7F-E1ADCC618E26}"/>
    <dgm:cxn modelId="{40B18EB4-EA24-4013-A9BD-33B7E11EEEEC}" type="presOf" srcId="{AADF841D-9983-40A8-887F-C88DB994868F}" destId="{1355A422-E95A-4EA2-BFB5-F6F7AFE90A0F}" srcOrd="0" destOrd="1" presId="urn:microsoft.com/office/officeart/2005/8/layout/bList2#1"/>
    <dgm:cxn modelId="{21E3DCD7-E052-4A5E-92EC-2C13DDCC399E}" type="presOf" srcId="{987FAD53-DAD3-4196-B5A7-94D888144C16}" destId="{A8C9F9C5-5884-4FED-ADA6-98F83ACE0B37}" srcOrd="1" destOrd="0" presId="urn:microsoft.com/office/officeart/2005/8/layout/bList2#1"/>
    <dgm:cxn modelId="{548CB319-40D3-4113-8432-FC791A44AF03}" type="presOf" srcId="{EEBAE17C-E046-4D70-A7E9-05A39C4B1FB4}" destId="{01F79FA9-4632-42EE-ADB9-E01CFBD27871}" srcOrd="0" destOrd="2" presId="urn:microsoft.com/office/officeart/2005/8/layout/bList2#1"/>
    <dgm:cxn modelId="{CB446C01-037D-4461-AB07-E81FA450D3A2}" srcId="{7E374735-67A5-4695-8D96-680ED35429D3}" destId="{DDCDAD82-7CDD-49B3-9510-4460EDA58BCD}" srcOrd="0" destOrd="0" parTransId="{2C0200E6-7170-48F6-96E4-2A0A9CC7E251}" sibTransId="{8C992BBB-2EBD-4159-9120-A0FDC504F63E}"/>
    <dgm:cxn modelId="{BC6431DF-3139-491A-B8AC-6FD645449F5A}" type="presOf" srcId="{82FC2365-A5A3-4D12-B491-C2714643FA58}" destId="{55ACCFB7-5490-4993-99B6-21974DA4928B}" srcOrd="0" destOrd="0" presId="urn:microsoft.com/office/officeart/2005/8/layout/bList2#1"/>
    <dgm:cxn modelId="{A4068568-DBE7-4DFC-9BF8-BE181A0D3D5A}" srcId="{987FAD53-DAD3-4196-B5A7-94D888144C16}" destId="{3200E0B0-694F-43B7-B32B-2A202FB131D7}" srcOrd="2" destOrd="0" parTransId="{6DFC8EBF-2872-4E4B-9700-3D5ABE15A3B4}" sibTransId="{DA4AA941-C7CC-45E3-AB6B-24668DA2EE71}"/>
    <dgm:cxn modelId="{217E5987-2A7E-4846-8D86-E41D7849BD5E}" type="presOf" srcId="{2A49A6F7-A4F4-41CA-8237-8EF88A927B74}" destId="{5C6A1BF9-3B37-450C-BE3E-F4409467AE38}" srcOrd="0" destOrd="0" presId="urn:microsoft.com/office/officeart/2005/8/layout/bList2#1"/>
    <dgm:cxn modelId="{51D9FFE6-8D62-4773-861A-F02F36C56A47}" srcId="{987FAD53-DAD3-4196-B5A7-94D888144C16}" destId="{0B2ADAD1-DD80-4E6D-97DA-0F0A42FD51AD}" srcOrd="3" destOrd="0" parTransId="{946C77FC-9079-4F27-AD0E-1DCA71CAE667}" sibTransId="{C6E06894-8B17-40F6-A7C7-DEABF3543D2F}"/>
    <dgm:cxn modelId="{12A0D478-9499-4F44-B1D5-FBAEF07A6902}" type="presOf" srcId="{987FAD53-DAD3-4196-B5A7-94D888144C16}" destId="{5819F318-A06A-470B-842E-73CD881C711A}" srcOrd="0" destOrd="0" presId="urn:microsoft.com/office/officeart/2005/8/layout/bList2#1"/>
    <dgm:cxn modelId="{7788000F-1F35-47F1-B216-E25BB4E771F1}" srcId="{82FC2365-A5A3-4D12-B491-C2714643FA58}" destId="{7E374735-67A5-4695-8D96-680ED35429D3}" srcOrd="0" destOrd="0" parTransId="{A968F663-82A7-491B-A27F-69803299B453}" sibTransId="{DF4688F8-FF83-4B7D-AE9D-57FE2014423B}"/>
    <dgm:cxn modelId="{10F9AF1A-EDA1-4036-9AE0-EF6680100D07}" type="presOf" srcId="{09B9E08F-AE8F-46D8-B108-384B8CC089F1}" destId="{FD9A4DB6-A8E0-4A7F-BF72-7DE87BE54D29}" srcOrd="0" destOrd="4" presId="urn:microsoft.com/office/officeart/2005/8/layout/bList2#1"/>
    <dgm:cxn modelId="{3FF2426A-B9A3-4117-B520-20338DCE04B6}" type="presOf" srcId="{6887B24E-879F-478E-9A48-B66DC69E18DE}" destId="{5D3169CD-F15A-4081-B451-5A936ACE05F3}" srcOrd="1" destOrd="0" presId="urn:microsoft.com/office/officeart/2005/8/layout/bList2#1"/>
    <dgm:cxn modelId="{89FFA7D2-F06E-4D6C-B89E-D76EF6494AE2}" srcId="{987FAD53-DAD3-4196-B5A7-94D888144C16}" destId="{7BE8B2BD-4362-4452-8CC4-8A38D453638F}" srcOrd="1" destOrd="0" parTransId="{403F6EDB-EE9B-44E4-A26C-7D3A08415DC2}" sibTransId="{C4487F7F-2D89-4A3C-8757-7090E712A492}"/>
    <dgm:cxn modelId="{37B73DA9-2DD0-429B-B5B8-BBB69C2E42D9}" type="presOf" srcId="{7E374735-67A5-4695-8D96-680ED35429D3}" destId="{AE52304D-02B6-4956-B64D-7346C7A81F40}" srcOrd="1" destOrd="0" presId="urn:microsoft.com/office/officeart/2005/8/layout/bList2#1"/>
    <dgm:cxn modelId="{1E46B0D9-0AEF-4D5D-A474-D2EEB71B0C7B}" type="presOf" srcId="{B53C74A7-9012-4DD1-83A9-812B6D389120}" destId="{1B2BE496-8BCF-4357-8D16-B643999D6F35}" srcOrd="0" destOrd="0" presId="urn:microsoft.com/office/officeart/2005/8/layout/bList2#1"/>
    <dgm:cxn modelId="{3566E5B2-5679-450C-BC42-2137F4BCD533}" srcId="{987FAD53-DAD3-4196-B5A7-94D888144C16}" destId="{53B9FFB8-1B70-4FA7-972F-EA70160B510D}" srcOrd="0" destOrd="0" parTransId="{3E4E8D63-E959-4EE7-86BE-6B245C333F6B}" sibTransId="{9665239C-835C-4B85-8DFF-EAA33913C99B}"/>
    <dgm:cxn modelId="{22F99E05-6A69-4720-AA44-DEC4AD898ABC}" type="presOf" srcId="{6887B24E-879F-478E-9A48-B66DC69E18DE}" destId="{34C3598B-3CB9-432A-8E4D-091107B603BD}" srcOrd="0" destOrd="0" presId="urn:microsoft.com/office/officeart/2005/8/layout/bList2#1"/>
    <dgm:cxn modelId="{34B2684F-BB2B-45D8-8D4D-3FBB17973023}" srcId="{229733B2-3191-48AD-8516-2694907F9561}" destId="{A62CB26F-C90F-4BEA-8926-45B549986D8F}" srcOrd="2" destOrd="0" parTransId="{249CD900-F477-46F7-B096-BC0A4C0A96E4}" sibTransId="{CC26BC40-F815-4F34-8701-3CA56E928D51}"/>
    <dgm:cxn modelId="{9F466491-65C0-4F2A-A10B-896E3C969CA2}" srcId="{7E374735-67A5-4695-8D96-680ED35429D3}" destId="{AADF841D-9983-40A8-887F-C88DB994868F}" srcOrd="1" destOrd="0" parTransId="{69D45BF5-C6ED-44D7-A797-14E7E81E5269}" sibTransId="{B2C6F549-811E-47B3-B583-04A242A67174}"/>
    <dgm:cxn modelId="{9FA3A131-6522-4640-8765-0616D737D29B}" type="presOf" srcId="{A60D904E-DA25-46CD-A068-73C291425D63}" destId="{4C266DE5-27CE-4A10-B262-4E03BF3F8948}" srcOrd="0" destOrd="0" presId="urn:microsoft.com/office/officeart/2005/8/layout/bList2#1"/>
    <dgm:cxn modelId="{50638BCC-A7D9-4C4E-8330-ADC3738DBAA3}" type="presOf" srcId="{EF3DE831-4896-4589-9776-44357498D1B6}" destId="{605FB9D6-B685-4FAE-AA86-02134E08D8EC}" srcOrd="0" destOrd="1" presId="urn:microsoft.com/office/officeart/2005/8/layout/bList2#1"/>
    <dgm:cxn modelId="{464EB828-001E-4777-9DCE-268D5DE75B6E}" srcId="{987FAD53-DAD3-4196-B5A7-94D888144C16}" destId="{B4CD6599-135D-4353-BEBD-2C2EE3640C08}" srcOrd="5" destOrd="0" parTransId="{5C6967BD-D00F-4F71-A866-C47B540C7187}" sibTransId="{CF293E29-74A7-4DC5-943C-447CAC9FFE82}"/>
    <dgm:cxn modelId="{B717C99A-C14B-4FCB-9CDA-991536634C65}" type="presOf" srcId="{53B9FFB8-1B70-4FA7-972F-EA70160B510D}" destId="{FD9A4DB6-A8E0-4A7F-BF72-7DE87BE54D29}" srcOrd="0" destOrd="0" presId="urn:microsoft.com/office/officeart/2005/8/layout/bList2#1"/>
    <dgm:cxn modelId="{E62912FD-122E-4C3A-8367-91D54B68BCDB}" type="presOf" srcId="{B06DBDB5-12C4-48CA-B9AC-00CCB0A9E4B9}" destId="{4C27D020-6256-453C-8B6E-5897B3F24171}" srcOrd="0" destOrd="0" presId="urn:microsoft.com/office/officeart/2005/8/layout/bList2#1"/>
    <dgm:cxn modelId="{81C4D259-7180-4474-8A0A-5B61418785FA}" type="presOf" srcId="{5B87E8F6-7908-46A2-8DD1-232B49D1CBE7}" destId="{4C27D020-6256-453C-8B6E-5897B3F24171}" srcOrd="0" destOrd="1" presId="urn:microsoft.com/office/officeart/2005/8/layout/bList2#1"/>
    <dgm:cxn modelId="{EF42F0E3-7CC0-4E05-AECE-03A8C58F27A7}" type="presOf" srcId="{229733B2-3191-48AD-8516-2694907F9561}" destId="{17AADFE7-FEE9-4AF8-8DCB-04FEC971B82A}" srcOrd="1" destOrd="0" presId="urn:microsoft.com/office/officeart/2005/8/layout/bList2#1"/>
    <dgm:cxn modelId="{C1989851-98B5-4E8D-8212-1A30516EE51B}" type="presOf" srcId="{D4CFE1E8-24B8-45C4-994A-2F788C932019}" destId="{01F79FA9-4632-42EE-ADB9-E01CFBD27871}" srcOrd="0" destOrd="0" presId="urn:microsoft.com/office/officeart/2005/8/layout/bList2#1"/>
    <dgm:cxn modelId="{20BCACA0-703C-48BC-8809-8F90D7B95002}" type="presOf" srcId="{FC7C7858-FDB0-4BA0-AC92-D1428DA3783A}" destId="{4A20F7A8-E975-46D9-9E93-7B24E1764CDF}" srcOrd="0" destOrd="0" presId="urn:microsoft.com/office/officeart/2005/8/layout/bList2#1"/>
    <dgm:cxn modelId="{88704E7B-ABCB-4DDD-8151-AD60400F4A03}" type="presOf" srcId="{BA64F632-2FB3-4F4C-8D04-34359861AD08}" destId="{1AD0A237-562B-4F4A-A5FF-5C2C69C38457}" srcOrd="0" destOrd="0" presId="urn:microsoft.com/office/officeart/2005/8/layout/bList2#1"/>
    <dgm:cxn modelId="{341DD036-79D4-4B31-9411-91D462785DBF}" type="presOf" srcId="{439C13D3-D03B-47FC-ABFF-E5355A0AA64B}" destId="{4C266DE5-27CE-4A10-B262-4E03BF3F8948}" srcOrd="0" destOrd="2" presId="urn:microsoft.com/office/officeart/2005/8/layout/bList2#1"/>
    <dgm:cxn modelId="{46D56368-2F38-43D4-BBE1-26F1D1544559}" type="presOf" srcId="{6B64EC12-E198-41C9-A000-37603B3ABB97}" destId="{322A4E48-12E9-4BE1-ABCB-71B5CCD5EE59}" srcOrd="1" destOrd="0" presId="urn:microsoft.com/office/officeart/2005/8/layout/bList2#1"/>
    <dgm:cxn modelId="{1CFDFAED-C488-4D9D-994D-CA89E1914BC6}" type="presOf" srcId="{229733B2-3191-48AD-8516-2694907F9561}" destId="{9819A7ED-3CDF-4CA2-93BF-2389E9EC496B}" srcOrd="0" destOrd="0" presId="urn:microsoft.com/office/officeart/2005/8/layout/bList2#1"/>
    <dgm:cxn modelId="{E4F420AB-56BB-406D-BC4A-F13A76BC0B38}" srcId="{82FC2365-A5A3-4D12-B491-C2714643FA58}" destId="{229733B2-3191-48AD-8516-2694907F9561}" srcOrd="2" destOrd="0" parTransId="{7E13ECB8-29E2-4D82-8580-C393572ECF2E}" sibTransId="{0209940E-5E29-4993-8815-109CB83470EF}"/>
    <dgm:cxn modelId="{DC3E0A96-D11C-4D03-A837-26459F76FBB4}" srcId="{82FC2365-A5A3-4D12-B491-C2714643FA58}" destId="{6B64EC12-E198-41C9-A000-37603B3ABB97}" srcOrd="5" destOrd="0" parTransId="{F9765D41-5440-4256-87CD-C97902C72488}" sibTransId="{94BBEAF5-2398-4024-AC0F-CDD05EDF6693}"/>
    <dgm:cxn modelId="{484F1206-C5AC-4B85-84C6-0E17EB71A15F}" type="presOf" srcId="{BA64F632-2FB3-4F4C-8D04-34359861AD08}" destId="{4AADC374-B603-4C8D-9C95-016E9D0EF2DC}" srcOrd="1" destOrd="0" presId="urn:microsoft.com/office/officeart/2005/8/layout/bList2#1"/>
    <dgm:cxn modelId="{7F497C8C-0F04-495D-9FB7-CA24F0C13B04}" srcId="{82FC2365-A5A3-4D12-B491-C2714643FA58}" destId="{80EF884C-6E84-4BE4-8B15-34B26953A279}" srcOrd="6" destOrd="0" parTransId="{B527627B-161E-4D0B-B9B7-6C4038CD0366}" sibTransId="{12C84A72-1938-42FA-A28B-F464B849C5DD}"/>
    <dgm:cxn modelId="{AF808D5F-F26A-4FC3-96E6-365A13CAF06E}" type="presOf" srcId="{DF4688F8-FF83-4B7D-AE9D-57FE2014423B}" destId="{275094F1-7D19-4667-889A-8C5137BDC32D}" srcOrd="0" destOrd="0" presId="urn:microsoft.com/office/officeart/2005/8/layout/bList2#1"/>
    <dgm:cxn modelId="{F08883A6-E3F4-48F1-BC8E-851364526800}" type="presOf" srcId="{353CF203-443B-492D-8798-0549045FD293}" destId="{4C266DE5-27CE-4A10-B262-4E03BF3F8948}" srcOrd="0" destOrd="1" presId="urn:microsoft.com/office/officeart/2005/8/layout/bList2#1"/>
    <dgm:cxn modelId="{33EA5696-9E95-4F1E-A168-0214F0A09A9B}" type="presOf" srcId="{7E374735-67A5-4695-8D96-680ED35429D3}" destId="{EB3DAE52-2477-4A17-9987-F0D468196C76}" srcOrd="0" destOrd="0" presId="urn:microsoft.com/office/officeart/2005/8/layout/bList2#1"/>
    <dgm:cxn modelId="{0D2D1681-8E01-4DEA-9F27-2DCAE3C1C9D7}" type="presOf" srcId="{0B2ADAD1-DD80-4E6D-97DA-0F0A42FD51AD}" destId="{FD9A4DB6-A8E0-4A7F-BF72-7DE87BE54D29}" srcOrd="0" destOrd="3" presId="urn:microsoft.com/office/officeart/2005/8/layout/bList2#1"/>
    <dgm:cxn modelId="{498F2F6F-CC1A-4A59-8D88-A03E291C0D3B}" srcId="{BA64F632-2FB3-4F4C-8D04-34359861AD08}" destId="{FC7C7858-FDB0-4BA0-AC92-D1428DA3783A}" srcOrd="0" destOrd="0" parTransId="{D46E6076-7574-443A-B7C2-0F5B5174B20A}" sibTransId="{1A4567DF-11D2-42B6-B151-338492067206}"/>
    <dgm:cxn modelId="{ACEBF647-AE8F-468A-A74F-BAC2CA270F33}" type="presOf" srcId="{0209940E-5E29-4993-8815-109CB83470EF}" destId="{542503BE-EA87-4C9C-9F03-E7781103F6F6}" srcOrd="0" destOrd="0" presId="urn:microsoft.com/office/officeart/2005/8/layout/bList2#1"/>
    <dgm:cxn modelId="{5E50B64E-F3FB-40DB-B94C-16D4964BDE3E}" type="presOf" srcId="{A62CB26F-C90F-4BEA-8926-45B549986D8F}" destId="{605FB9D6-B685-4FAE-AA86-02134E08D8EC}" srcOrd="0" destOrd="2" presId="urn:microsoft.com/office/officeart/2005/8/layout/bList2#1"/>
    <dgm:cxn modelId="{8CEDAA7B-39CE-44BB-9267-FC9349EA8812}" srcId="{82FC2365-A5A3-4D12-B491-C2714643FA58}" destId="{BA64F632-2FB3-4F4C-8D04-34359861AD08}" srcOrd="1" destOrd="0" parTransId="{CB408642-19EB-481E-9325-9FE14D0F6029}" sibTransId="{B53C74A7-9012-4DD1-83A9-812B6D389120}"/>
    <dgm:cxn modelId="{26685EC1-E466-4062-8ED7-067B4A8BFF30}" srcId="{82FC2365-A5A3-4D12-B491-C2714643FA58}" destId="{6887B24E-879F-478E-9A48-B66DC69E18DE}" srcOrd="3" destOrd="0" parTransId="{D11C8404-D63A-4D06-9CA6-996D8973DF3A}" sibTransId="{2A49A6F7-A4F4-41CA-8237-8EF88A927B74}"/>
    <dgm:cxn modelId="{07E7B5BB-A944-47A2-AC94-A116EDC32E36}" type="presOf" srcId="{5DA36600-1FFD-4009-9FB6-9881B4FE0C98}" destId="{01F79FA9-4632-42EE-ADB9-E01CFBD27871}" srcOrd="0" destOrd="1" presId="urn:microsoft.com/office/officeart/2005/8/layout/bList2#1"/>
    <dgm:cxn modelId="{C7C88C16-EF96-4661-A644-DC7DF90AD13A}" type="presOf" srcId="{C0BC361D-F855-4CE6-980A-67BB29A1759E}" destId="{4A20F7A8-E975-46D9-9E93-7B24E1764CDF}" srcOrd="0" destOrd="1" presId="urn:microsoft.com/office/officeart/2005/8/layout/bList2#1"/>
    <dgm:cxn modelId="{32384728-7A8C-4B02-B7B0-DCB0529A1C73}" srcId="{BA64F632-2FB3-4F4C-8D04-34359861AD08}" destId="{C0BC361D-F855-4CE6-980A-67BB29A1759E}" srcOrd="1" destOrd="0" parTransId="{78100D9D-2B98-4772-A1CD-0CDB736AB3B2}" sibTransId="{6A61DAEC-CE42-41E4-BC90-FBF8F7240C8B}"/>
    <dgm:cxn modelId="{0EDE1C06-DA34-41DA-B47A-0D5EF2FBB3C1}" srcId="{6887B24E-879F-478E-9A48-B66DC69E18DE}" destId="{D4CFE1E8-24B8-45C4-994A-2F788C932019}" srcOrd="0" destOrd="0" parTransId="{DC6FD8D6-DCD8-4003-B39B-CCAFE420FEE0}" sibTransId="{7246DD03-D73F-4DBA-8B62-3167961F9A75}"/>
    <dgm:cxn modelId="{5B6B64D8-9D7A-430A-86F1-C1BEF6E0757E}" type="presOf" srcId="{1E1C0375-25C1-45FF-802D-0BA9BAA11637}" destId="{605FB9D6-B685-4FAE-AA86-02134E08D8EC}" srcOrd="0" destOrd="0" presId="urn:microsoft.com/office/officeart/2005/8/layout/bList2#1"/>
    <dgm:cxn modelId="{BA257547-F5E8-446F-B178-DBB17F371ED6}" srcId="{229733B2-3191-48AD-8516-2694907F9561}" destId="{EF3DE831-4896-4589-9776-44357498D1B6}" srcOrd="1" destOrd="0" parTransId="{CE6F1B4E-FD85-4B8A-B620-5E37206BD549}" sibTransId="{8310F015-A38F-49B9-B48B-E76FF6A1C732}"/>
    <dgm:cxn modelId="{9345F944-41F1-43B4-867B-FA745085D292}" type="presParOf" srcId="{55ACCFB7-5490-4993-99B6-21974DA4928B}" destId="{1622AE2C-43C5-46EF-820A-D51D1D525762}" srcOrd="0" destOrd="0" presId="urn:microsoft.com/office/officeart/2005/8/layout/bList2#1"/>
    <dgm:cxn modelId="{7E40854A-AA8B-4BB2-B4CE-87B8C017F319}" type="presParOf" srcId="{1622AE2C-43C5-46EF-820A-D51D1D525762}" destId="{1355A422-E95A-4EA2-BFB5-F6F7AFE90A0F}" srcOrd="0" destOrd="0" presId="urn:microsoft.com/office/officeart/2005/8/layout/bList2#1"/>
    <dgm:cxn modelId="{885AE4F1-83C5-47AB-9F1F-C371B08F2BF1}" type="presParOf" srcId="{1622AE2C-43C5-46EF-820A-D51D1D525762}" destId="{EB3DAE52-2477-4A17-9987-F0D468196C76}" srcOrd="1" destOrd="0" presId="urn:microsoft.com/office/officeart/2005/8/layout/bList2#1"/>
    <dgm:cxn modelId="{6EC54630-BCEC-4614-B609-9221F42C5A2C}" type="presParOf" srcId="{1622AE2C-43C5-46EF-820A-D51D1D525762}" destId="{AE52304D-02B6-4956-B64D-7346C7A81F40}" srcOrd="2" destOrd="0" presId="urn:microsoft.com/office/officeart/2005/8/layout/bList2#1"/>
    <dgm:cxn modelId="{834AE920-F354-4B21-8521-AC6AA84FBD02}" type="presParOf" srcId="{1622AE2C-43C5-46EF-820A-D51D1D525762}" destId="{D310F6D5-4173-4EEE-A8A8-93D9A368CD2B}" srcOrd="3" destOrd="0" presId="urn:microsoft.com/office/officeart/2005/8/layout/bList2#1"/>
    <dgm:cxn modelId="{E764E9BE-3A83-4BB5-9308-0162E56BD30A}" type="presParOf" srcId="{55ACCFB7-5490-4993-99B6-21974DA4928B}" destId="{275094F1-7D19-4667-889A-8C5137BDC32D}" srcOrd="1" destOrd="0" presId="urn:microsoft.com/office/officeart/2005/8/layout/bList2#1"/>
    <dgm:cxn modelId="{EBA2FB9F-1D30-4018-AA4C-C61BCDB8E5F3}" type="presParOf" srcId="{55ACCFB7-5490-4993-99B6-21974DA4928B}" destId="{66549494-9C4B-4BEE-9624-D7E64EEC5BBE}" srcOrd="2" destOrd="0" presId="urn:microsoft.com/office/officeart/2005/8/layout/bList2#1"/>
    <dgm:cxn modelId="{C6D52BAE-65D3-4830-9C02-C80881B6BAB0}" type="presParOf" srcId="{66549494-9C4B-4BEE-9624-D7E64EEC5BBE}" destId="{4A20F7A8-E975-46D9-9E93-7B24E1764CDF}" srcOrd="0" destOrd="0" presId="urn:microsoft.com/office/officeart/2005/8/layout/bList2#1"/>
    <dgm:cxn modelId="{8226F420-C665-42A0-BCC7-07B9CE548FF7}" type="presParOf" srcId="{66549494-9C4B-4BEE-9624-D7E64EEC5BBE}" destId="{1AD0A237-562B-4F4A-A5FF-5C2C69C38457}" srcOrd="1" destOrd="0" presId="urn:microsoft.com/office/officeart/2005/8/layout/bList2#1"/>
    <dgm:cxn modelId="{79B7EBB1-713D-4A33-8E36-836BFE1C6A7B}" type="presParOf" srcId="{66549494-9C4B-4BEE-9624-D7E64EEC5BBE}" destId="{4AADC374-B603-4C8D-9C95-016E9D0EF2DC}" srcOrd="2" destOrd="0" presId="urn:microsoft.com/office/officeart/2005/8/layout/bList2#1"/>
    <dgm:cxn modelId="{FF014687-0F0F-4E38-92E8-F34EDD23641F}" type="presParOf" srcId="{66549494-9C4B-4BEE-9624-D7E64EEC5BBE}" destId="{08BBBA4D-B307-48C7-A567-9B7BFDD1E6DE}" srcOrd="3" destOrd="0" presId="urn:microsoft.com/office/officeart/2005/8/layout/bList2#1"/>
    <dgm:cxn modelId="{9460CAB6-06F7-4704-A5AB-1212CF5CC22E}" type="presParOf" srcId="{55ACCFB7-5490-4993-99B6-21974DA4928B}" destId="{1B2BE496-8BCF-4357-8D16-B643999D6F35}" srcOrd="3" destOrd="0" presId="urn:microsoft.com/office/officeart/2005/8/layout/bList2#1"/>
    <dgm:cxn modelId="{DC6EAD1F-E98E-4886-8D2B-FE844AD524D4}" type="presParOf" srcId="{55ACCFB7-5490-4993-99B6-21974DA4928B}" destId="{F5AECDAA-9B5C-4FC2-8517-7A2ED8084E57}" srcOrd="4" destOrd="0" presId="urn:microsoft.com/office/officeart/2005/8/layout/bList2#1"/>
    <dgm:cxn modelId="{AA8897BD-0B05-4834-968E-3D0BA11CEE62}" type="presParOf" srcId="{F5AECDAA-9B5C-4FC2-8517-7A2ED8084E57}" destId="{605FB9D6-B685-4FAE-AA86-02134E08D8EC}" srcOrd="0" destOrd="0" presId="urn:microsoft.com/office/officeart/2005/8/layout/bList2#1"/>
    <dgm:cxn modelId="{7E502B4C-3623-481E-856E-97CC58B0B86A}" type="presParOf" srcId="{F5AECDAA-9B5C-4FC2-8517-7A2ED8084E57}" destId="{9819A7ED-3CDF-4CA2-93BF-2389E9EC496B}" srcOrd="1" destOrd="0" presId="urn:microsoft.com/office/officeart/2005/8/layout/bList2#1"/>
    <dgm:cxn modelId="{415F1A5F-128C-406F-81BF-0112E80C3DE4}" type="presParOf" srcId="{F5AECDAA-9B5C-4FC2-8517-7A2ED8084E57}" destId="{17AADFE7-FEE9-4AF8-8DCB-04FEC971B82A}" srcOrd="2" destOrd="0" presId="urn:microsoft.com/office/officeart/2005/8/layout/bList2#1"/>
    <dgm:cxn modelId="{39791CD8-ACEA-4C74-8F50-72EABE7E22DC}" type="presParOf" srcId="{F5AECDAA-9B5C-4FC2-8517-7A2ED8084E57}" destId="{89D06D79-8695-423E-A10F-6F7E9956404D}" srcOrd="3" destOrd="0" presId="urn:microsoft.com/office/officeart/2005/8/layout/bList2#1"/>
    <dgm:cxn modelId="{F4F582B4-4E25-48D1-824D-EA9BFFDC24C3}" type="presParOf" srcId="{55ACCFB7-5490-4993-99B6-21974DA4928B}" destId="{542503BE-EA87-4C9C-9F03-E7781103F6F6}" srcOrd="5" destOrd="0" presId="urn:microsoft.com/office/officeart/2005/8/layout/bList2#1"/>
    <dgm:cxn modelId="{889066FC-2055-4AD5-A3DF-B068CEDAD4BE}" type="presParOf" srcId="{55ACCFB7-5490-4993-99B6-21974DA4928B}" destId="{77D5306F-B646-4E39-A689-3A9669EE6FE2}" srcOrd="6" destOrd="0" presId="urn:microsoft.com/office/officeart/2005/8/layout/bList2#1"/>
    <dgm:cxn modelId="{65457C9F-C581-4437-AC61-0BEFDCFFF971}" type="presParOf" srcId="{77D5306F-B646-4E39-A689-3A9669EE6FE2}" destId="{01F79FA9-4632-42EE-ADB9-E01CFBD27871}" srcOrd="0" destOrd="0" presId="urn:microsoft.com/office/officeart/2005/8/layout/bList2#1"/>
    <dgm:cxn modelId="{BBADF0DD-F8B0-481F-AA0C-2487850FBDC2}" type="presParOf" srcId="{77D5306F-B646-4E39-A689-3A9669EE6FE2}" destId="{34C3598B-3CB9-432A-8E4D-091107B603BD}" srcOrd="1" destOrd="0" presId="urn:microsoft.com/office/officeart/2005/8/layout/bList2#1"/>
    <dgm:cxn modelId="{029255CB-C9B3-4688-BD78-01CB69CFCA1D}" type="presParOf" srcId="{77D5306F-B646-4E39-A689-3A9669EE6FE2}" destId="{5D3169CD-F15A-4081-B451-5A936ACE05F3}" srcOrd="2" destOrd="0" presId="urn:microsoft.com/office/officeart/2005/8/layout/bList2#1"/>
    <dgm:cxn modelId="{5453D880-510B-4CBA-A159-E1E156840C6B}" type="presParOf" srcId="{77D5306F-B646-4E39-A689-3A9669EE6FE2}" destId="{C5B71921-ADA2-407C-BBD2-C61573339487}" srcOrd="3" destOrd="0" presId="urn:microsoft.com/office/officeart/2005/8/layout/bList2#1"/>
    <dgm:cxn modelId="{99658E79-7719-435C-B43F-DF68D2898405}" type="presParOf" srcId="{55ACCFB7-5490-4993-99B6-21974DA4928B}" destId="{5C6A1BF9-3B37-450C-BE3E-F4409467AE38}" srcOrd="7" destOrd="0" presId="urn:microsoft.com/office/officeart/2005/8/layout/bList2#1"/>
    <dgm:cxn modelId="{89014D9C-2248-4508-9D53-9D066AABCEB8}" type="presParOf" srcId="{55ACCFB7-5490-4993-99B6-21974DA4928B}" destId="{20080D40-2796-45C2-8BD3-CB6B5EA91ADE}" srcOrd="8" destOrd="0" presId="urn:microsoft.com/office/officeart/2005/8/layout/bList2#1"/>
    <dgm:cxn modelId="{C7C2EC1D-BD6F-4319-B860-D3902F56074D}" type="presParOf" srcId="{20080D40-2796-45C2-8BD3-CB6B5EA91ADE}" destId="{FD9A4DB6-A8E0-4A7F-BF72-7DE87BE54D29}" srcOrd="0" destOrd="0" presId="urn:microsoft.com/office/officeart/2005/8/layout/bList2#1"/>
    <dgm:cxn modelId="{75AA380C-A5F4-4958-AB22-F34D70C4F40C}" type="presParOf" srcId="{20080D40-2796-45C2-8BD3-CB6B5EA91ADE}" destId="{5819F318-A06A-470B-842E-73CD881C711A}" srcOrd="1" destOrd="0" presId="urn:microsoft.com/office/officeart/2005/8/layout/bList2#1"/>
    <dgm:cxn modelId="{1217B8EE-04C6-4510-850B-086DC4830089}" type="presParOf" srcId="{20080D40-2796-45C2-8BD3-CB6B5EA91ADE}" destId="{A8C9F9C5-5884-4FED-ADA6-98F83ACE0B37}" srcOrd="2" destOrd="0" presId="urn:microsoft.com/office/officeart/2005/8/layout/bList2#1"/>
    <dgm:cxn modelId="{1D1651CE-74CD-4209-BA30-E68A80FF7E09}" type="presParOf" srcId="{20080D40-2796-45C2-8BD3-CB6B5EA91ADE}" destId="{6705576F-2388-4A72-ABF6-6C0D88D025AD}" srcOrd="3" destOrd="0" presId="urn:microsoft.com/office/officeart/2005/8/layout/bList2#1"/>
    <dgm:cxn modelId="{B8301B84-FA86-4F8E-B83E-87774EADC432}" type="presParOf" srcId="{55ACCFB7-5490-4993-99B6-21974DA4928B}" destId="{745A2BB0-2195-426C-B7BC-8C4521890DC0}" srcOrd="9" destOrd="0" presId="urn:microsoft.com/office/officeart/2005/8/layout/bList2#1"/>
    <dgm:cxn modelId="{B8FD789E-A9E5-40E8-9052-28287FDD1715}" type="presParOf" srcId="{55ACCFB7-5490-4993-99B6-21974DA4928B}" destId="{5CB1CF45-AE69-4720-B88D-8DE0402CC08F}" srcOrd="10" destOrd="0" presId="urn:microsoft.com/office/officeart/2005/8/layout/bList2#1"/>
    <dgm:cxn modelId="{65C36D88-CFA9-46A4-9772-4DDDAB1C0FA6}" type="presParOf" srcId="{5CB1CF45-AE69-4720-B88D-8DE0402CC08F}" destId="{4C27D020-6256-453C-8B6E-5897B3F24171}" srcOrd="0" destOrd="0" presId="urn:microsoft.com/office/officeart/2005/8/layout/bList2#1"/>
    <dgm:cxn modelId="{DE15BCE8-6799-47BB-B068-007003CF29B7}" type="presParOf" srcId="{5CB1CF45-AE69-4720-B88D-8DE0402CC08F}" destId="{3A2D8CF3-D587-4FD4-9E08-656837E159A0}" srcOrd="1" destOrd="0" presId="urn:microsoft.com/office/officeart/2005/8/layout/bList2#1"/>
    <dgm:cxn modelId="{618BBBA8-2A40-4904-A868-37F7E781F3E2}" type="presParOf" srcId="{5CB1CF45-AE69-4720-B88D-8DE0402CC08F}" destId="{322A4E48-12E9-4BE1-ABCB-71B5CCD5EE59}" srcOrd="2" destOrd="0" presId="urn:microsoft.com/office/officeart/2005/8/layout/bList2#1"/>
    <dgm:cxn modelId="{1C7C5EFC-70A3-472B-9F92-72D7C8B78B58}" type="presParOf" srcId="{5CB1CF45-AE69-4720-B88D-8DE0402CC08F}" destId="{497E5005-20A5-4D8A-AB1F-41696B8837E6}" srcOrd="3" destOrd="0" presId="urn:microsoft.com/office/officeart/2005/8/layout/bList2#1"/>
    <dgm:cxn modelId="{20376B76-42BF-4605-B9AA-36999CC332D4}" type="presParOf" srcId="{55ACCFB7-5490-4993-99B6-21974DA4928B}" destId="{F2E631AB-61C9-402C-A75A-1E7534F0C188}" srcOrd="11" destOrd="0" presId="urn:microsoft.com/office/officeart/2005/8/layout/bList2#1"/>
    <dgm:cxn modelId="{2FE9EDB9-787D-47DA-B46D-CF260368FE81}" type="presParOf" srcId="{55ACCFB7-5490-4993-99B6-21974DA4928B}" destId="{50C0331B-0BB8-4A44-A77B-D2E04E77ECD1}" srcOrd="12" destOrd="0" presId="urn:microsoft.com/office/officeart/2005/8/layout/bList2#1"/>
    <dgm:cxn modelId="{8AC0788F-6A05-424E-BC61-6D3985DC84A5}" type="presParOf" srcId="{50C0331B-0BB8-4A44-A77B-D2E04E77ECD1}" destId="{4C266DE5-27CE-4A10-B262-4E03BF3F8948}" srcOrd="0" destOrd="0" presId="urn:microsoft.com/office/officeart/2005/8/layout/bList2#1"/>
    <dgm:cxn modelId="{46F6B797-8124-46B4-B2E7-AB9DD017096D}" type="presParOf" srcId="{50C0331B-0BB8-4A44-A77B-D2E04E77ECD1}" destId="{B34439D1-DE6D-4E7D-A7C9-28658E26A11A}" srcOrd="1" destOrd="0" presId="urn:microsoft.com/office/officeart/2005/8/layout/bList2#1"/>
    <dgm:cxn modelId="{FA28DBF6-54CE-42A3-9817-4CA9C05A625C}" type="presParOf" srcId="{50C0331B-0BB8-4A44-A77B-D2E04E77ECD1}" destId="{672EA329-3186-44BD-9925-C43FA287536A}" srcOrd="2" destOrd="0" presId="urn:microsoft.com/office/officeart/2005/8/layout/bList2#1"/>
    <dgm:cxn modelId="{005DD737-A805-43DD-90DA-7A4D3830DBEF}" type="presParOf" srcId="{50C0331B-0BB8-4A44-A77B-D2E04E77ECD1}" destId="{A2DA8778-F147-4E3B-BAE8-6FB0065B6E47}" srcOrd="3" destOrd="0" presId="urn:microsoft.com/office/officeart/2005/8/layout/b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55A422-E95A-4EA2-BFB5-F6F7AFE90A0F}">
      <dsp:nvSpPr>
        <dsp:cNvPr id="0" name=""/>
        <dsp:cNvSpPr/>
      </dsp:nvSpPr>
      <dsp:spPr>
        <a:xfrm>
          <a:off x="6192686" y="3096341"/>
          <a:ext cx="2624080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Финансовая поддержка МСП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Популяризация предпринимательства</a:t>
          </a:r>
          <a:endParaRPr lang="ru-RU" sz="1200" kern="1200" dirty="0"/>
        </a:p>
      </dsp:txBody>
      <dsp:txXfrm>
        <a:off x="6224514" y="3128169"/>
        <a:ext cx="2560424" cy="1326530"/>
      </dsp:txXfrm>
    </dsp:sp>
    <dsp:sp modelId="{AE52304D-02B6-4956-B64D-7346C7A81F40}">
      <dsp:nvSpPr>
        <dsp:cNvPr id="0" name=""/>
        <dsp:cNvSpPr/>
      </dsp:nvSpPr>
      <dsp:spPr>
        <a:xfrm>
          <a:off x="6192695" y="4464494"/>
          <a:ext cx="2644515" cy="58409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Малое и среднее предпринимательство</a:t>
          </a:r>
          <a:endParaRPr lang="ru-RU" sz="1400" b="1" kern="1200" dirty="0"/>
        </a:p>
      </dsp:txBody>
      <dsp:txXfrm>
        <a:off x="6192695" y="4464494"/>
        <a:ext cx="1862335" cy="584094"/>
      </dsp:txXfrm>
    </dsp:sp>
    <dsp:sp modelId="{D310F6D5-4173-4EEE-A8A8-93D9A368CD2B}">
      <dsp:nvSpPr>
        <dsp:cNvPr id="0" name=""/>
        <dsp:cNvSpPr/>
      </dsp:nvSpPr>
      <dsp:spPr>
        <a:xfrm>
          <a:off x="8352925" y="4536503"/>
          <a:ext cx="636890" cy="636890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20F7A8-E975-46D9-9E93-7B24E1764CDF}">
      <dsp:nvSpPr>
        <dsp:cNvPr id="0" name=""/>
        <dsp:cNvSpPr/>
      </dsp:nvSpPr>
      <dsp:spPr>
        <a:xfrm>
          <a:off x="4176463" y="3096341"/>
          <a:ext cx="1819687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875044"/>
              <a:satOff val="-2813"/>
              <a:lumOff val="-4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Культурная сред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Цифровая культура</a:t>
          </a:r>
          <a:endParaRPr lang="ru-RU" sz="1200" kern="1200" dirty="0"/>
        </a:p>
      </dsp:txBody>
      <dsp:txXfrm>
        <a:off x="4208291" y="3128169"/>
        <a:ext cx="1756031" cy="1326530"/>
      </dsp:txXfrm>
    </dsp:sp>
    <dsp:sp modelId="{4AADC374-B603-4C8D-9C95-016E9D0EF2DC}">
      <dsp:nvSpPr>
        <dsp:cNvPr id="0" name=""/>
        <dsp:cNvSpPr/>
      </dsp:nvSpPr>
      <dsp:spPr>
        <a:xfrm>
          <a:off x="4176463" y="4464494"/>
          <a:ext cx="1819687" cy="584094"/>
        </a:xfrm>
        <a:prstGeom prst="rect">
          <a:avLst/>
        </a:prstGeom>
        <a:solidFill>
          <a:schemeClr val="accent3">
            <a:hueOff val="1875044"/>
            <a:satOff val="-2813"/>
            <a:lumOff val="-458"/>
            <a:alphaOff val="0"/>
          </a:schemeClr>
        </a:solidFill>
        <a:ln w="25400" cap="flat" cmpd="sng" algn="ctr">
          <a:solidFill>
            <a:schemeClr val="accent3">
              <a:hueOff val="1875044"/>
              <a:satOff val="-2813"/>
              <a:lumOff val="-4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Культура</a:t>
          </a:r>
          <a:endParaRPr lang="ru-RU" sz="1400" b="1" kern="1200" dirty="0"/>
        </a:p>
      </dsp:txBody>
      <dsp:txXfrm>
        <a:off x="4176463" y="4464494"/>
        <a:ext cx="1281470" cy="584094"/>
      </dsp:txXfrm>
    </dsp:sp>
    <dsp:sp modelId="{08BBBA4D-B307-48C7-A567-9B7BFDD1E6DE}">
      <dsp:nvSpPr>
        <dsp:cNvPr id="0" name=""/>
        <dsp:cNvSpPr/>
      </dsp:nvSpPr>
      <dsp:spPr>
        <a:xfrm>
          <a:off x="5472605" y="4536503"/>
          <a:ext cx="636890" cy="636890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1786142"/>
              <a:satOff val="-2299"/>
              <a:lumOff val="-1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5FB9D6-B685-4FAE-AA86-02134E08D8EC}">
      <dsp:nvSpPr>
        <dsp:cNvPr id="0" name=""/>
        <dsp:cNvSpPr/>
      </dsp:nvSpPr>
      <dsp:spPr>
        <a:xfrm>
          <a:off x="432044" y="504049"/>
          <a:ext cx="1819687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3750088"/>
              <a:satOff val="-5627"/>
              <a:lumOff val="-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таршее поколение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одействие занятости женщин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порт – норма жизни</a:t>
          </a:r>
          <a:endParaRPr lang="ru-RU" sz="1200" kern="1200" dirty="0"/>
        </a:p>
      </dsp:txBody>
      <dsp:txXfrm>
        <a:off x="463872" y="535877"/>
        <a:ext cx="1756031" cy="1326530"/>
      </dsp:txXfrm>
    </dsp:sp>
    <dsp:sp modelId="{17AADFE7-FEE9-4AF8-8DCB-04FEC971B82A}">
      <dsp:nvSpPr>
        <dsp:cNvPr id="0" name=""/>
        <dsp:cNvSpPr/>
      </dsp:nvSpPr>
      <dsp:spPr>
        <a:xfrm>
          <a:off x="432044" y="1872208"/>
          <a:ext cx="1819687" cy="584094"/>
        </a:xfrm>
        <a:prstGeom prst="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25400" cap="flat" cmpd="sng" algn="ctr">
          <a:solidFill>
            <a:schemeClr val="accent3">
              <a:hueOff val="3750088"/>
              <a:satOff val="-5627"/>
              <a:lumOff val="-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Демография</a:t>
          </a:r>
          <a:endParaRPr lang="ru-RU" sz="1400" b="1" kern="1200" dirty="0"/>
        </a:p>
      </dsp:txBody>
      <dsp:txXfrm>
        <a:off x="432044" y="1872208"/>
        <a:ext cx="1281470" cy="584094"/>
      </dsp:txXfrm>
    </dsp:sp>
    <dsp:sp modelId="{89D06D79-8695-423E-A10F-6F7E9956404D}">
      <dsp:nvSpPr>
        <dsp:cNvPr id="0" name=""/>
        <dsp:cNvSpPr/>
      </dsp:nvSpPr>
      <dsp:spPr>
        <a:xfrm>
          <a:off x="1728191" y="1913806"/>
          <a:ext cx="636890" cy="636890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3572283"/>
              <a:satOff val="-4598"/>
              <a:lumOff val="-3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F79FA9-4632-42EE-ADB9-E01CFBD27871}">
      <dsp:nvSpPr>
        <dsp:cNvPr id="0" name=""/>
        <dsp:cNvSpPr/>
      </dsp:nvSpPr>
      <dsp:spPr>
        <a:xfrm>
          <a:off x="72008" y="3096341"/>
          <a:ext cx="1819687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охранение уникальных водных объектов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Чистая вод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Чистая страна</a:t>
          </a:r>
          <a:endParaRPr lang="ru-RU" sz="1200" kern="1200" dirty="0"/>
        </a:p>
      </dsp:txBody>
      <dsp:txXfrm>
        <a:off x="103836" y="3128169"/>
        <a:ext cx="1756031" cy="1326530"/>
      </dsp:txXfrm>
    </dsp:sp>
    <dsp:sp modelId="{5D3169CD-F15A-4081-B451-5A936ACE05F3}">
      <dsp:nvSpPr>
        <dsp:cNvPr id="0" name=""/>
        <dsp:cNvSpPr/>
      </dsp:nvSpPr>
      <dsp:spPr>
        <a:xfrm>
          <a:off x="72008" y="4464494"/>
          <a:ext cx="1819687" cy="584094"/>
        </a:xfrm>
        <a:prstGeom prst="rec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accent3">
              <a:hueOff val="5625132"/>
              <a:satOff val="-8440"/>
              <a:lumOff val="-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Экология</a:t>
          </a:r>
          <a:endParaRPr lang="ru-RU" sz="1400" b="1" kern="1200" dirty="0"/>
        </a:p>
      </dsp:txBody>
      <dsp:txXfrm>
        <a:off x="72008" y="4464494"/>
        <a:ext cx="1281470" cy="584094"/>
      </dsp:txXfrm>
    </dsp:sp>
    <dsp:sp modelId="{C5B71921-ADA2-407C-BBD2-C61573339487}">
      <dsp:nvSpPr>
        <dsp:cNvPr id="0" name=""/>
        <dsp:cNvSpPr/>
      </dsp:nvSpPr>
      <dsp:spPr>
        <a:xfrm>
          <a:off x="1368151" y="4536503"/>
          <a:ext cx="636890" cy="636890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5358425"/>
              <a:satOff val="-6896"/>
              <a:lumOff val="-5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9A4DB6-A8E0-4A7F-BF72-7DE87BE54D29}">
      <dsp:nvSpPr>
        <dsp:cNvPr id="0" name=""/>
        <dsp:cNvSpPr/>
      </dsp:nvSpPr>
      <dsp:spPr>
        <a:xfrm>
          <a:off x="2808310" y="216023"/>
          <a:ext cx="2585448" cy="166737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7500176"/>
              <a:satOff val="-11253"/>
              <a:lumOff val="-18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овременная школ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Успех каждого ребенк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Поддержка семей, имеющих детей 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Цифровая образовательная сред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Учитель будущего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оциальная активность</a:t>
          </a:r>
          <a:endParaRPr lang="ru-RU" sz="1200" kern="1200" dirty="0"/>
        </a:p>
      </dsp:txBody>
      <dsp:txXfrm>
        <a:off x="2847379" y="255092"/>
        <a:ext cx="2507310" cy="1628302"/>
      </dsp:txXfrm>
    </dsp:sp>
    <dsp:sp modelId="{A8C9F9C5-5884-4FED-ADA6-98F83ACE0B37}">
      <dsp:nvSpPr>
        <dsp:cNvPr id="0" name=""/>
        <dsp:cNvSpPr/>
      </dsp:nvSpPr>
      <dsp:spPr>
        <a:xfrm>
          <a:off x="2808310" y="1872211"/>
          <a:ext cx="2585448" cy="584094"/>
        </a:xfrm>
        <a:prstGeom prst="rect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25400" cap="flat" cmpd="sng" algn="ctr">
          <a:solidFill>
            <a:schemeClr val="accent3">
              <a:hueOff val="7500176"/>
              <a:satOff val="-11253"/>
              <a:lumOff val="-18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бразование</a:t>
          </a:r>
          <a:endParaRPr lang="ru-RU" sz="1400" b="1" kern="1200" dirty="0"/>
        </a:p>
      </dsp:txBody>
      <dsp:txXfrm>
        <a:off x="2808310" y="1872211"/>
        <a:ext cx="1820738" cy="584094"/>
      </dsp:txXfrm>
    </dsp:sp>
    <dsp:sp modelId="{6705576F-2388-4A72-ABF6-6C0D88D025AD}">
      <dsp:nvSpPr>
        <dsp:cNvPr id="0" name=""/>
        <dsp:cNvSpPr/>
      </dsp:nvSpPr>
      <dsp:spPr>
        <a:xfrm>
          <a:off x="4968554" y="1913803"/>
          <a:ext cx="636890" cy="636890"/>
        </a:xfrm>
        <a:prstGeom prst="ellipse">
          <a:avLst/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7144567"/>
              <a:satOff val="-9195"/>
              <a:lumOff val="-7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27D020-6256-453C-8B6E-5897B3F24171}">
      <dsp:nvSpPr>
        <dsp:cNvPr id="0" name=""/>
        <dsp:cNvSpPr/>
      </dsp:nvSpPr>
      <dsp:spPr>
        <a:xfrm>
          <a:off x="2160247" y="3096344"/>
          <a:ext cx="1819687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9375220"/>
              <a:satOff val="-14067"/>
              <a:lumOff val="-22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Дорожная сеть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Общесистемные меры развития дорожного хозяйства</a:t>
          </a:r>
          <a:endParaRPr lang="ru-RU" sz="1200" kern="1200" dirty="0"/>
        </a:p>
      </dsp:txBody>
      <dsp:txXfrm>
        <a:off x="2192075" y="3128172"/>
        <a:ext cx="1756031" cy="1326530"/>
      </dsp:txXfrm>
    </dsp:sp>
    <dsp:sp modelId="{322A4E48-12E9-4BE1-ABCB-71B5CCD5EE59}">
      <dsp:nvSpPr>
        <dsp:cNvPr id="0" name=""/>
        <dsp:cNvSpPr/>
      </dsp:nvSpPr>
      <dsp:spPr>
        <a:xfrm>
          <a:off x="2160247" y="4464496"/>
          <a:ext cx="1819687" cy="584094"/>
        </a:xfrm>
        <a:prstGeom prst="rect">
          <a:avLst/>
        </a:prstGeom>
        <a:solidFill>
          <a:schemeClr val="accent3">
            <a:hueOff val="9375220"/>
            <a:satOff val="-14067"/>
            <a:lumOff val="-2288"/>
            <a:alphaOff val="0"/>
          </a:schemeClr>
        </a:solidFill>
        <a:ln w="25400" cap="flat" cmpd="sng" algn="ctr">
          <a:solidFill>
            <a:schemeClr val="accent3">
              <a:hueOff val="9375220"/>
              <a:satOff val="-14067"/>
              <a:lumOff val="-22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Безопасные и качественные дороги</a:t>
          </a:r>
          <a:endParaRPr lang="ru-RU" sz="1400" b="1" kern="1200" dirty="0"/>
        </a:p>
      </dsp:txBody>
      <dsp:txXfrm>
        <a:off x="2160247" y="4464496"/>
        <a:ext cx="1281470" cy="584094"/>
      </dsp:txXfrm>
    </dsp:sp>
    <dsp:sp modelId="{497E5005-20A5-4D8A-AB1F-41696B8837E6}">
      <dsp:nvSpPr>
        <dsp:cNvPr id="0" name=""/>
        <dsp:cNvSpPr/>
      </dsp:nvSpPr>
      <dsp:spPr>
        <a:xfrm>
          <a:off x="3456383" y="4536501"/>
          <a:ext cx="636890" cy="636890"/>
        </a:xfrm>
        <a:prstGeom prst="ellipse">
          <a:avLst/>
        </a:prstGeom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8930708"/>
              <a:satOff val="-11494"/>
              <a:lumOff val="-8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266DE5-27CE-4A10-B262-4E03BF3F8948}">
      <dsp:nvSpPr>
        <dsp:cNvPr id="0" name=""/>
        <dsp:cNvSpPr/>
      </dsp:nvSpPr>
      <dsp:spPr>
        <a:xfrm>
          <a:off x="5904663" y="504053"/>
          <a:ext cx="2573438" cy="135835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45720" rIns="15240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Жилье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Обеспечение устойчивого сокращения непригодного для проживания жилищного фонд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Формирование комфортной городской среды</a:t>
          </a:r>
          <a:endParaRPr lang="ru-RU" sz="1200" kern="1200" dirty="0"/>
        </a:p>
      </dsp:txBody>
      <dsp:txXfrm>
        <a:off x="5936491" y="535881"/>
        <a:ext cx="2509782" cy="1326530"/>
      </dsp:txXfrm>
    </dsp:sp>
    <dsp:sp modelId="{672EA329-3186-44BD-9925-C43FA287536A}">
      <dsp:nvSpPr>
        <dsp:cNvPr id="0" name=""/>
        <dsp:cNvSpPr/>
      </dsp:nvSpPr>
      <dsp:spPr>
        <a:xfrm>
          <a:off x="5904663" y="1872210"/>
          <a:ext cx="2573438" cy="584094"/>
        </a:xfrm>
        <a:prstGeom prst="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0" rIns="1778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Жилье и городская среда</a:t>
          </a:r>
          <a:endParaRPr lang="ru-RU" sz="1400" b="1" kern="1200" dirty="0"/>
        </a:p>
      </dsp:txBody>
      <dsp:txXfrm>
        <a:off x="5904663" y="1872210"/>
        <a:ext cx="1812280" cy="584094"/>
      </dsp:txXfrm>
    </dsp:sp>
    <dsp:sp modelId="{A2DA8778-F147-4E3B-BAE8-6FB0065B6E47}">
      <dsp:nvSpPr>
        <dsp:cNvPr id="0" name=""/>
        <dsp:cNvSpPr/>
      </dsp:nvSpPr>
      <dsp:spPr>
        <a:xfrm>
          <a:off x="7992888" y="1913804"/>
          <a:ext cx="636890" cy="636890"/>
        </a:xfrm>
        <a:prstGeom prst="ellipse">
          <a:avLst/>
        </a:prstGeom>
        <a:blipFill>
          <a:blip xmlns:r="http://schemas.openxmlformats.org/officeDocument/2006/relationships"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10716850"/>
              <a:satOff val="-13793"/>
              <a:lumOff val="-107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#1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AFB5B6-8561-47D5-8516-3086C8AE28BA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15155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5" y="9428585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D0CDC-1232-45FA-92AF-3A3BCC84D27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738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D0CDC-1232-45FA-92AF-3A3BCC84D276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3383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739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7847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3293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1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1827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39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405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97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833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544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4970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1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3716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 с колонтиту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6CC69A72-2A0A-40F6-B21F-26D949F4C2DA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680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колонтиту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CC69A72-2A0A-40F6-B21F-26D949F4C2DA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68433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Дата 6"/>
          <p:cNvSpPr txBox="1">
            <a:spLocks/>
          </p:cNvSpPr>
          <p:nvPr userDrawn="1"/>
        </p:nvSpPr>
        <p:spPr>
          <a:xfrm>
            <a:off x="774700" y="6227296"/>
            <a:ext cx="114326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>
              <a:defRPr>
                <a:solidFill>
                  <a:schemeClr val="bg2"/>
                </a:solidFill>
                <a:latin typeface="Vida 22 Pro" charset="0"/>
                <a:ea typeface="Vida 22 Pro" charset="0"/>
                <a:cs typeface="Vida 22 Pro" charset="0"/>
              </a:defRPr>
            </a:lvl1pPr>
          </a:lstStyle>
          <a:p>
            <a:fld id="{93C5262D-EF0A-FC44-BB0E-330555F9963F}" type="datetimeFigureOut">
              <a:rPr lang="ru-RU" smtClean="0">
                <a:solidFill>
                  <a:srgbClr val="E7E6E6"/>
                </a:solidFill>
              </a:rPr>
              <a:pPr/>
              <a:t>13.06.2019</a:t>
            </a:fld>
            <a:endParaRPr lang="ru-RU" dirty="0">
              <a:solidFill>
                <a:srgbClr val="E7E6E6"/>
              </a:solidFill>
            </a:endParaRPr>
          </a:p>
        </p:txBody>
      </p:sp>
      <p:pic>
        <p:nvPicPr>
          <p:cNvPr id="5" name="Рисунок 3"/>
          <p:cNvPicPr>
            <a:picLocks noChangeAspect="1"/>
          </p:cNvPicPr>
          <p:nvPr userDrawn="1"/>
        </p:nvPicPr>
        <p:blipFill rotWithShape="1">
          <a:blip r:embed="rId2" cstate="print"/>
          <a:srcRect t="7592" r="31389" b="29074"/>
          <a:stretch/>
        </p:blipFill>
        <p:spPr>
          <a:xfrm>
            <a:off x="4224453" y="0"/>
            <a:ext cx="4953000" cy="6858000"/>
          </a:xfrm>
          <a:prstGeom prst="rect">
            <a:avLst/>
          </a:prstGeom>
        </p:spPr>
      </p:pic>
      <p:sp>
        <p:nvSpPr>
          <p:cNvPr id="6" name="Прямоугольник 6"/>
          <p:cNvSpPr/>
          <p:nvPr userDrawn="1"/>
        </p:nvSpPr>
        <p:spPr>
          <a:xfrm>
            <a:off x="774702" y="258296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44546A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44546A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4702" y="3167390"/>
            <a:ext cx="4545445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US" sz="2800" b="1"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3137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разделитель с полос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"/>
          <p:cNvPicPr>
            <a:picLocks noChangeAspect="1"/>
          </p:cNvPicPr>
          <p:nvPr userDrawn="1"/>
        </p:nvPicPr>
        <p:blipFill rotWithShape="1">
          <a:blip r:embed="rId2" cstate="print"/>
          <a:srcRect t="7334" r="31750" b="29000"/>
          <a:stretch/>
        </p:blipFill>
        <p:spPr>
          <a:xfrm>
            <a:off x="4240531" y="-3268"/>
            <a:ext cx="4903471" cy="6861268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74702" y="3165755"/>
            <a:ext cx="4545445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US" sz="2800" b="1">
                <a:solidFill>
                  <a:schemeClr val="tx2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0"/>
            <a:ext cx="80010" cy="6858000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1141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разделитель без полос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1"/>
          <p:cNvPicPr>
            <a:picLocks noChangeAspect="1"/>
          </p:cNvPicPr>
          <p:nvPr userDrawn="1"/>
        </p:nvPicPr>
        <p:blipFill rotWithShape="1">
          <a:blip r:embed="rId2" cstate="print"/>
          <a:srcRect t="7334" r="31750" b="29000"/>
          <a:stretch/>
        </p:blipFill>
        <p:spPr>
          <a:xfrm>
            <a:off x="4240531" y="-3268"/>
            <a:ext cx="4903471" cy="6861268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774702" y="3165755"/>
            <a:ext cx="4545445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US" sz="2800" b="1">
                <a:solidFill>
                  <a:schemeClr val="tx2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76292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лонтитул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6CC69A72-2A0A-40F6-B21F-26D949F4C2DA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445694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3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956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без колонтиту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814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без Деппроектов без колонтиту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25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без Деппроек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3174"/>
            <a:ext cx="8515349" cy="838299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</p:spTree>
    <p:extLst>
      <p:ext uri="{BB962C8B-B14F-4D97-AF65-F5344CB8AC3E}">
        <p14:creationId xmlns:p14="http://schemas.microsoft.com/office/powerpoint/2010/main" val="18737449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ая шап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175"/>
            <a:ext cx="8514000" cy="838167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</p:spTree>
    <p:extLst>
      <p:ext uri="{BB962C8B-B14F-4D97-AF65-F5344CB8AC3E}">
        <p14:creationId xmlns:p14="http://schemas.microsoft.com/office/powerpoint/2010/main" val="424764728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ая шап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75" y="-2667"/>
            <a:ext cx="8514000" cy="838167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</p:spTree>
    <p:extLst>
      <p:ext uri="{BB962C8B-B14F-4D97-AF65-F5344CB8AC3E}">
        <p14:creationId xmlns:p14="http://schemas.microsoft.com/office/powerpoint/2010/main" val="248976756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ая шап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50" y="-5842"/>
            <a:ext cx="8514000" cy="853607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836507"/>
            <a:ext cx="9144000" cy="5550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7446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ая шап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42" y="-18543"/>
            <a:ext cx="8514000" cy="852870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</p:spTree>
    <p:extLst>
      <p:ext uri="{BB962C8B-B14F-4D97-AF65-F5344CB8AC3E}">
        <p14:creationId xmlns:p14="http://schemas.microsoft.com/office/powerpoint/2010/main" val="7813733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ая шап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718"/>
            <a:ext cx="8514000" cy="852870"/>
          </a:xfrm>
          <a:prstGeom prst="rect">
            <a:avLst/>
          </a:prstGeom>
        </p:spPr>
      </p:pic>
      <p:sp>
        <p:nvSpPr>
          <p:cNvPr id="13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solidFill>
            <a:srgbClr val="003F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4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Прямоугольник 8"/>
          <p:cNvSpPr/>
          <p:nvPr userDrawn="1"/>
        </p:nvSpPr>
        <p:spPr>
          <a:xfrm>
            <a:off x="378375" y="45702"/>
            <a:ext cx="119295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sz="1100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F38B068-F18C-1540-9536-42110F3B5931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 hasCustomPrompt="1"/>
          </p:nvPr>
        </p:nvSpPr>
        <p:spPr>
          <a:xfrm>
            <a:off x="378375" y="241495"/>
            <a:ext cx="7214621" cy="5602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400" b="1" baseline="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fontAlgn="auto">
              <a:lnSpc>
                <a:spcPct val="120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Пример заголовка слайда</a:t>
            </a:r>
            <a:endParaRPr lang="en-US" dirty="0"/>
          </a:p>
        </p:txBody>
      </p:sp>
      <p:sp>
        <p:nvSpPr>
          <p:cNvPr id="26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381209" y="6450707"/>
            <a:ext cx="7211785" cy="2308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ru-RU" sz="1000" baseline="0" dirty="0">
                <a:solidFill>
                  <a:schemeClr val="bg1">
                    <a:lumMod val="75000"/>
                  </a:schemeClr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/>
              <a:t>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Пример текста</a:t>
            </a:r>
            <a:r>
              <a:rPr lang="en-US" dirty="0"/>
              <a:t> </a:t>
            </a:r>
            <a:r>
              <a:rPr lang="ru-RU" dirty="0"/>
              <a:t>колонтитула  </a:t>
            </a:r>
          </a:p>
        </p:txBody>
      </p:sp>
    </p:spTree>
    <p:extLst>
      <p:ext uri="{BB962C8B-B14F-4D97-AF65-F5344CB8AC3E}">
        <p14:creationId xmlns:p14="http://schemas.microsoft.com/office/powerpoint/2010/main" val="31338694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/>
          <a:srcRect l="29375" r="7250" b="46438"/>
          <a:stretch/>
        </p:blipFill>
        <p:spPr>
          <a:xfrm>
            <a:off x="0" y="1705858"/>
            <a:ext cx="9144000" cy="5152142"/>
          </a:xfrm>
          <a:prstGeom prst="rect">
            <a:avLst/>
          </a:prstGeom>
        </p:spPr>
      </p:pic>
      <p:sp>
        <p:nvSpPr>
          <p:cNvPr id="6" name="Прямоугольник 5"/>
          <p:cNvSpPr/>
          <p:nvPr userDrawn="1"/>
        </p:nvSpPr>
        <p:spPr>
          <a:xfrm>
            <a:off x="2" y="258296"/>
            <a:ext cx="9143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err="1">
                <a:solidFill>
                  <a:srgbClr val="44546A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44546A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299278" y="2392903"/>
            <a:ext cx="4545445" cy="36933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US" sz="1800" dirty="0">
                <a:solidFill>
                  <a:srgbClr val="000000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0" lvl="0" algn="ctr"/>
            <a:r>
              <a:rPr lang="ru-RU" dirty="0"/>
              <a:t>Образец текста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00050" y="5406188"/>
            <a:ext cx="2949178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lang="ru-RU" sz="1800">
                <a:solidFill>
                  <a:schemeClr val="bg1"/>
                </a:solidFill>
                <a:latin typeface="Vida 32 Pro" charset="0"/>
                <a:ea typeface="Vida 32 Pro" charset="0"/>
                <a:cs typeface="Vida 32 Pro" charset="0"/>
              </a:defRPr>
            </a:lvl1pPr>
          </a:lstStyle>
          <a:p>
            <a:pPr marL="285750" lvl="0" indent="-285750">
              <a:buFont typeface="Arial" charset="0"/>
            </a:pPr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9592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FF38B068-F18C-1540-9536-42110F3B593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 userDrawn="1"/>
        </p:nvSpPr>
        <p:spPr>
          <a:xfrm>
            <a:off x="370699" y="64081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</a:t>
            </a:r>
            <a:endParaRPr lang="en-US" sz="1000" dirty="0">
              <a:solidFill>
                <a:srgbClr val="FFFFFF">
                  <a:lumMod val="75000"/>
                </a:srgbClr>
              </a:solidFill>
              <a:latin typeface="Vida 32 Pro" charset="0"/>
              <a:ea typeface="Vida 32 Pro" charset="0"/>
              <a:cs typeface="Vida 32 Pro" charset="0"/>
            </a:endParaRPr>
          </a:p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</a:p>
        </p:txBody>
      </p:sp>
    </p:spTree>
    <p:extLst>
      <p:ext uri="{BB962C8B-B14F-4D97-AF65-F5344CB8AC3E}">
        <p14:creationId xmlns:p14="http://schemas.microsoft.com/office/powerpoint/2010/main" val="7669707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FF38B068-F18C-1540-9536-42110F3B593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 userDrawn="1"/>
        </p:nvSpPr>
        <p:spPr>
          <a:xfrm>
            <a:off x="370699" y="64081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</a:t>
            </a:r>
            <a:endParaRPr lang="en-US" sz="1000" dirty="0">
              <a:solidFill>
                <a:srgbClr val="FFFFFF">
                  <a:lumMod val="75000"/>
                </a:srgbClr>
              </a:solidFill>
              <a:latin typeface="Vida 32 Pro" charset="0"/>
              <a:ea typeface="Vida 32 Pro" charset="0"/>
              <a:cs typeface="Vida 32 Pro" charset="0"/>
            </a:endParaRPr>
          </a:p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</a:p>
        </p:txBody>
      </p:sp>
    </p:spTree>
    <p:extLst>
      <p:ext uri="{BB962C8B-B14F-4D97-AF65-F5344CB8AC3E}">
        <p14:creationId xmlns:p14="http://schemas.microsoft.com/office/powerpoint/2010/main" val="483704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FF38B068-F18C-1540-9536-42110F3B593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 userDrawn="1"/>
        </p:nvSpPr>
        <p:spPr>
          <a:xfrm>
            <a:off x="370699" y="64081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</a:t>
            </a:r>
            <a:endParaRPr lang="en-US" sz="1000" dirty="0">
              <a:solidFill>
                <a:srgbClr val="FFFFFF">
                  <a:lumMod val="75000"/>
                </a:srgbClr>
              </a:solidFill>
              <a:latin typeface="Vida 32 Pro" charset="0"/>
              <a:ea typeface="Vida 32 Pro" charset="0"/>
              <a:cs typeface="Vida 32 Pro" charset="0"/>
            </a:endParaRPr>
          </a:p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</a:p>
        </p:txBody>
      </p:sp>
    </p:spTree>
    <p:extLst>
      <p:ext uri="{BB962C8B-B14F-4D97-AF65-F5344CB8AC3E}">
        <p14:creationId xmlns:p14="http://schemas.microsoft.com/office/powerpoint/2010/main" val="1912935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FF38B068-F18C-1540-9536-42110F3B593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 userDrawn="1"/>
        </p:nvSpPr>
        <p:spPr>
          <a:xfrm>
            <a:off x="370699" y="64081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</a:t>
            </a:r>
            <a:endParaRPr lang="en-US" sz="1000" dirty="0">
              <a:solidFill>
                <a:srgbClr val="FFFFFF">
                  <a:lumMod val="75000"/>
                </a:srgbClr>
              </a:solidFill>
              <a:latin typeface="Vida 32 Pro" charset="0"/>
              <a:ea typeface="Vida 32 Pro" charset="0"/>
              <a:cs typeface="Vida 32 Pro" charset="0"/>
            </a:endParaRPr>
          </a:p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</a:p>
        </p:txBody>
      </p:sp>
    </p:spTree>
    <p:extLst>
      <p:ext uri="{BB962C8B-B14F-4D97-AF65-F5344CB8AC3E}">
        <p14:creationId xmlns:p14="http://schemas.microsoft.com/office/powerpoint/2010/main" val="41516945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6474" y="6356355"/>
            <a:ext cx="368877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FF38B068-F18C-1540-9536-42110F3B593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217723" y="6656123"/>
            <a:ext cx="22563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62989" y="6356352"/>
            <a:ext cx="7980367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 userDrawn="1"/>
        </p:nvSpPr>
        <p:spPr>
          <a:xfrm>
            <a:off x="370699" y="64081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</a:t>
            </a:r>
            <a:endParaRPr lang="en-US" sz="1000" dirty="0">
              <a:solidFill>
                <a:srgbClr val="FFFFFF">
                  <a:lumMod val="75000"/>
                </a:srgbClr>
              </a:solidFill>
              <a:latin typeface="Vida 32 Pro" charset="0"/>
              <a:ea typeface="Vida 32 Pro" charset="0"/>
              <a:cs typeface="Vida 32 Pro" charset="0"/>
            </a:endParaRPr>
          </a:p>
          <a:p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Колонтитула</a:t>
            </a:r>
            <a:r>
              <a:rPr lang="en-US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 </a:t>
            </a:r>
            <a:r>
              <a:rPr lang="ru-RU" sz="1000" dirty="0">
                <a:solidFill>
                  <a:srgbClr val="FFFFFF">
                    <a:lumMod val="75000"/>
                  </a:srgbClr>
                </a:solidFill>
                <a:latin typeface="Vida 32 Pro" charset="0"/>
                <a:ea typeface="Vida 32 Pro" charset="0"/>
                <a:cs typeface="Vida 32 Pro" charset="0"/>
              </a:rPr>
              <a:t>текст для нижнего колонтитула</a:t>
            </a:r>
          </a:p>
        </p:txBody>
      </p:sp>
    </p:spTree>
    <p:extLst>
      <p:ext uri="{BB962C8B-B14F-4D97-AF65-F5344CB8AC3E}">
        <p14:creationId xmlns:p14="http://schemas.microsoft.com/office/powerpoint/2010/main" val="15033443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8515349" cy="838299"/>
          </a:xfrm>
          <a:prstGeom prst="rect">
            <a:avLst/>
          </a:prstGeom>
        </p:spPr>
      </p:pic>
      <p:sp>
        <p:nvSpPr>
          <p:cNvPr id="12" name="Прямоугольник 11"/>
          <p:cNvSpPr/>
          <p:nvPr userDrawn="1"/>
        </p:nvSpPr>
        <p:spPr>
          <a:xfrm>
            <a:off x="345301" y="238497"/>
            <a:ext cx="18309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Деппроектов</a:t>
            </a:r>
            <a:r>
              <a:rPr lang="ru-RU" dirty="0">
                <a:solidFill>
                  <a:srgbClr val="FFFFFF"/>
                </a:solidFill>
                <a:latin typeface="Vida 22 Pro" charset="0"/>
                <a:ea typeface="Vida 22 Pro" charset="0"/>
                <a:cs typeface="Vida 22 Pro" charset="0"/>
              </a:rPr>
              <a:t> Югры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359378" y="143051"/>
            <a:ext cx="0" cy="5602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9665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vmlDrawing" Target="../drawings/vmlDrawing3.v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13.06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06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1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994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98" r:id="rId12"/>
    <p:sldLayoutId id="214748369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A896681-E284-47F5-ACAB-6DC9476576A8}"/>
              </a:ext>
            </a:extLst>
          </p:cNvPr>
          <p:cNvGraphicFramePr>
            <a:graphicFrameLocks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3417105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334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457202" y="1600200"/>
            <a:ext cx="82296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5809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7992888" cy="560228"/>
          </a:xfrm>
        </p:spPr>
        <p:txBody>
          <a:bodyPr/>
          <a:lstStyle/>
          <a:p>
            <a:pPr algn="l"/>
            <a:r>
              <a:rPr lang="ru-RU" sz="2000" dirty="0" smtClean="0"/>
              <a:t>Указом Президента РФ № 204 от 07 мая 2018 года определены стратегические цели страны до </a:t>
            </a:r>
            <a:r>
              <a:rPr lang="ru-RU" sz="2000" dirty="0"/>
              <a:t>2024 </a:t>
            </a:r>
            <a:r>
              <a:rPr lang="ru-RU" sz="2000" dirty="0" smtClean="0"/>
              <a:t>года</a:t>
            </a:r>
            <a:endParaRPr lang="ru-RU" sz="2000" dirty="0"/>
          </a:p>
        </p:txBody>
      </p:sp>
      <p:sp>
        <p:nvSpPr>
          <p:cNvPr id="5" name="Прямоугольник 6"/>
          <p:cNvSpPr/>
          <p:nvPr>
            <p:custDataLst>
              <p:tags r:id="rId1"/>
            </p:custDataLst>
          </p:nvPr>
        </p:nvSpPr>
        <p:spPr>
          <a:xfrm>
            <a:off x="4362245" y="1340768"/>
            <a:ext cx="460851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entury Gothic" pitchFamily="34" charset="0"/>
                <a:ea typeface="Tahoma" pitchFamily="34" charset="0"/>
                <a:cs typeface="Tahoma" pitchFamily="34" charset="0"/>
              </a:rPr>
              <a:t>Указ Президента </a:t>
            </a:r>
            <a:r>
              <a:rPr lang="ru-RU" sz="2000" dirty="0" smtClean="0">
                <a:latin typeface="Century Gothic" pitchFamily="34" charset="0"/>
                <a:ea typeface="Tahoma" pitchFamily="34" charset="0"/>
                <a:cs typeface="Tahoma" pitchFamily="34" charset="0"/>
              </a:rPr>
              <a:t>РФ</a:t>
            </a:r>
            <a:r>
              <a:rPr lang="ru-RU" sz="2000" b="1" dirty="0">
                <a:solidFill>
                  <a:schemeClr val="accent1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ru-RU" sz="2000" dirty="0">
                <a:latin typeface="Century Gothic" pitchFamily="34" charset="0"/>
                <a:ea typeface="Tahoma" pitchFamily="34" charset="0"/>
                <a:cs typeface="Tahoma" pitchFamily="34" charset="0"/>
              </a:rPr>
              <a:t>от 07.05.2018 № 204</a:t>
            </a:r>
          </a:p>
          <a:p>
            <a:r>
              <a:rPr lang="ru-RU" sz="2000" b="1" dirty="0">
                <a:solidFill>
                  <a:schemeClr val="tx2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«О национальных целях и стратегических задачах развития Российской Федерации на период до 2024 года</a:t>
            </a:r>
            <a:r>
              <a:rPr lang="ru-RU" sz="2000" b="1" dirty="0" smtClean="0">
                <a:solidFill>
                  <a:schemeClr val="tx2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»</a:t>
            </a:r>
            <a:endParaRPr lang="ru-RU" sz="2000" dirty="0">
              <a:solidFill>
                <a:schemeClr val="tx2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Прямоугольник 9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4362245" y="3847356"/>
            <a:ext cx="4608512" cy="20928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</a:pPr>
            <a:r>
              <a:rPr lang="ru-RU" sz="54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5400" b="1" dirty="0">
                <a:solidFill>
                  <a:schemeClr val="tx2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9</a:t>
            </a:r>
            <a:r>
              <a:rPr lang="ru-RU" dirty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000" dirty="0" smtClean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национальных </a:t>
            </a:r>
            <a:r>
              <a:rPr lang="ru-RU" sz="2000" dirty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целей </a:t>
            </a:r>
          </a:p>
          <a:p>
            <a:pPr marL="285750" indent="-285750">
              <a:spcAft>
                <a:spcPts val="600"/>
              </a:spcAft>
            </a:pPr>
            <a:r>
              <a:rPr lang="ru-RU" sz="54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5400" b="1" dirty="0">
                <a:solidFill>
                  <a:schemeClr val="tx2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12</a:t>
            </a:r>
            <a:r>
              <a:rPr lang="ru-RU" dirty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ru-RU" sz="2000" dirty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направлений </a:t>
            </a:r>
            <a:r>
              <a:rPr lang="ru-RU" sz="2000" dirty="0" smtClean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развития</a:t>
            </a:r>
            <a:endParaRPr lang="ru-RU" sz="2000" dirty="0">
              <a:solidFill>
                <a:srgbClr val="00000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ru-RU" dirty="0" smtClean="0">
                <a:solidFill>
                  <a:srgbClr val="000000"/>
                </a:solidFill>
                <a:latin typeface="Century Gothic" pitchFamily="34" charset="0"/>
                <a:ea typeface="Tahoma" pitchFamily="34" charset="0"/>
                <a:cs typeface="Tahoma" pitchFamily="34" charset="0"/>
              </a:rPr>
              <a:t>    </a:t>
            </a:r>
            <a:endParaRPr lang="ru-RU" dirty="0">
              <a:solidFill>
                <a:srgbClr val="000000"/>
              </a:solidFill>
              <a:latin typeface="Century Gothic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8134" name="Picture 6" descr="https://putidorogi-nn.ru/images/stories/evropa/spasskaya_bashnya_moskovskogo_kremlya_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836712"/>
            <a:ext cx="4085890" cy="6021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0998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31444"/>
            <a:ext cx="8136904" cy="606732"/>
          </a:xfrm>
        </p:spPr>
        <p:txBody>
          <a:bodyPr/>
          <a:lstStyle/>
          <a:p>
            <a:pPr lvl="0" algn="l"/>
            <a:r>
              <a:rPr lang="ru-RU" sz="2000" dirty="0" smtClean="0"/>
              <a:t>Ключевые термины</a:t>
            </a:r>
            <a:endParaRPr lang="en-US" sz="20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748" y="1772816"/>
            <a:ext cx="9043520" cy="336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56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50504" y="-9236"/>
            <a:ext cx="8496944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800" dirty="0" smtClean="0"/>
              <a:t>Каскадирование проектов</a:t>
            </a:r>
            <a:endParaRPr lang="en-US" sz="2000" b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496" y="1052736"/>
            <a:ext cx="9082433" cy="547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33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50504" y="-9236"/>
            <a:ext cx="8496944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2000" dirty="0" smtClean="0"/>
              <a:t>Структура национального проекта</a:t>
            </a:r>
            <a:endParaRPr lang="en-US" sz="2000" b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496" y="1048331"/>
            <a:ext cx="9073740" cy="57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858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31" y="116632"/>
            <a:ext cx="7214621" cy="560228"/>
          </a:xfrm>
        </p:spPr>
        <p:txBody>
          <a:bodyPr/>
          <a:lstStyle/>
          <a:p>
            <a:pPr lvl="0" algn="l"/>
            <a:r>
              <a:rPr lang="ru-RU" sz="2000" dirty="0"/>
              <a:t>В Югре запущено 11 портфелей </a:t>
            </a:r>
            <a:r>
              <a:rPr lang="ru-RU" sz="2000" dirty="0" smtClean="0"/>
              <a:t>проектов,</a:t>
            </a:r>
            <a:br>
              <a:rPr lang="ru-RU" sz="2000" dirty="0" smtClean="0"/>
            </a:br>
            <a:r>
              <a:rPr lang="ru-RU" sz="2000" dirty="0" smtClean="0"/>
              <a:t>основанных </a:t>
            </a:r>
            <a:r>
              <a:rPr lang="ru-RU" sz="2000" dirty="0"/>
              <a:t>на национальных проектах</a:t>
            </a:r>
            <a:endParaRPr lang="en-US" sz="2000" dirty="0"/>
          </a:p>
        </p:txBody>
      </p:sp>
      <p:graphicFrame>
        <p:nvGraphicFramePr>
          <p:cNvPr id="255" name="Таблица 254"/>
          <p:cNvGraphicFramePr>
            <a:graphicFrameLocks noGrp="1"/>
          </p:cNvGraphicFramePr>
          <p:nvPr>
            <p:extLst/>
          </p:nvPr>
        </p:nvGraphicFramePr>
        <p:xfrm>
          <a:off x="395536" y="1192560"/>
          <a:ext cx="6624736" cy="4752000"/>
        </p:xfrm>
        <a:graphic>
          <a:graphicData uri="http://schemas.openxmlformats.org/drawingml/2006/table">
            <a:tbl>
              <a:tblPr firstRow="1" bandRow="1"/>
              <a:tblGrid>
                <a:gridCol w="5040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0405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Демография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Культура</a:t>
                      </a:r>
                      <a:endParaRPr lang="ru-RU" sz="1800" kern="1200" dirty="0">
                        <a:solidFill>
                          <a:srgbClr val="000000"/>
                        </a:solidFill>
                        <a:latin typeface="Century Gothic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Здравоохранение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Образование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Жилье и городская среда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Безопасные и качественные дороги</a:t>
                      </a: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Цифровая экономика</a:t>
                      </a:r>
                    </a:p>
                  </a:txBody>
                  <a:tcPr marL="72000" marR="72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Международная кооперация и экспорт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Производительность труда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Малое и среднее предпринимательство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8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1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00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000000"/>
                          </a:solidFill>
                          <a:latin typeface="Century Gothic" pitchFamily="34" charset="0"/>
                          <a:ea typeface="Tahoma" pitchFamily="34" charset="0"/>
                          <a:cs typeface="Tahoma" pitchFamily="34" charset="0"/>
                        </a:rPr>
                        <a:t>Экология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269" name="Picture 2" descr="C:\Users\GimalovaER\Desktop\иконки\heartbea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982" y="211380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0" name="Picture 3" descr="C:\Users\GimalovaER\Desktop\иконки\Образование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9778" y="253632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1" name="Picture 4" descr="C:\Users\GimalovaER\Desktop\иконки\Городская среда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2433" y="2961286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2" name="Picture 5" descr="C:\Users\GimalovaER\Desktop\иконки\МСП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4557" y="5109567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3" name="Picture 6" descr="C:\Users\GimalovaER\Desktop\иконки\Производительность труд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998" y="4724667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4" name="Picture 3" descr="C:\Users\GimalovaER\Desktop\иконки\Экологи 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264" y="5542092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" name="Picture 7" descr="C:\Users\GimalovaER\Desktop\иконки\roa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182" y="3371738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" name="Picture 8" descr="C:\Users\GimalovaER\Desktop\иконки\export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588" y="4297992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7" name="Picture 9" descr="C:\Users\GimalovaER\Desktop\иконки\computer-graphic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96" y="3864820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9" name="Picture 6" descr="C:\Users\GimalovaER\Desktop\иконки\masks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264" y="1673284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GimalovaER\Desktop\иконки\network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207" y="11967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5221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79512" y="1"/>
            <a:ext cx="8496944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900" dirty="0" smtClean="0"/>
              <a:t>Место национальных проектов в государственных программах</a:t>
            </a:r>
            <a:endParaRPr lang="en-US" sz="1900" b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618" y="1416126"/>
            <a:ext cx="9145016" cy="412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050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79512" y="1"/>
            <a:ext cx="8496944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900" dirty="0" smtClean="0"/>
              <a:t>Муниципальные образования принимают участие</a:t>
            </a:r>
            <a:br>
              <a:rPr lang="ru-RU" sz="1900" dirty="0" smtClean="0"/>
            </a:br>
            <a:r>
              <a:rPr lang="ru-RU" sz="1900" dirty="0" smtClean="0"/>
              <a:t>в 21 региональном проекте</a:t>
            </a:r>
            <a:endParaRPr lang="en-US" sz="1900" b="0" dirty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448036630"/>
              </p:ext>
            </p:extLst>
          </p:nvPr>
        </p:nvGraphicFramePr>
        <p:xfrm>
          <a:off x="107504" y="1196752"/>
          <a:ext cx="9036496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9168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79512" y="1"/>
            <a:ext cx="7560840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900" smtClean="0"/>
              <a:t>Каждый муниципалитет </a:t>
            </a:r>
            <a:r>
              <a:rPr lang="ru-RU" sz="1900" dirty="0" smtClean="0"/>
              <a:t>участвует в реализации </a:t>
            </a:r>
            <a:br>
              <a:rPr lang="ru-RU" sz="1900" dirty="0" smtClean="0"/>
            </a:br>
            <a:r>
              <a:rPr lang="ru-RU" sz="1900" dirty="0" smtClean="0"/>
              <a:t>от 15 до 19 региональных проектов</a:t>
            </a:r>
            <a:endParaRPr lang="en-US" sz="1900" b="0" dirty="0"/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1815408801"/>
              </p:ext>
            </p:extLst>
          </p:nvPr>
        </p:nvGraphicFramePr>
        <p:xfrm>
          <a:off x="107504" y="1397000"/>
          <a:ext cx="8784976" cy="520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3266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79512" y="1"/>
            <a:ext cx="7560840" cy="836711"/>
          </a:xfrm>
        </p:spPr>
        <p:txBody>
          <a:bodyPr/>
          <a:lstStyle/>
          <a:p>
            <a:pPr lvl="0" algn="l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900" dirty="0" smtClean="0"/>
              <a:t>Наибольшая доля средств </a:t>
            </a:r>
            <a:r>
              <a:rPr lang="ru-RU" sz="1900" smtClean="0"/>
              <a:t>местных бюджетов предусмотрена на проект </a:t>
            </a:r>
            <a:r>
              <a:rPr lang="ru-RU" sz="1900" dirty="0" smtClean="0"/>
              <a:t>«Современная школа»</a:t>
            </a:r>
            <a:endParaRPr lang="en-US" sz="1900" b="0" dirty="0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1634944419"/>
              </p:ext>
            </p:extLst>
          </p:nvPr>
        </p:nvGraphicFramePr>
        <p:xfrm>
          <a:off x="0" y="1373342"/>
          <a:ext cx="5832648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5489376" y="1340768"/>
            <a:ext cx="3456384" cy="648072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Объем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финансирования за счет местных бюджетов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в 2019-2024 годы - 4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 929,4 млн рублей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68620979"/>
              </p:ext>
            </p:extLst>
          </p:nvPr>
        </p:nvGraphicFramePr>
        <p:xfrm>
          <a:off x="5652120" y="2204864"/>
          <a:ext cx="319201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3144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sJaUvynkysoCKJeXhj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7ymDVLLUOi.XapjDQPO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Деппроектов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3F92"/>
      </a:accent1>
      <a:accent2>
        <a:srgbClr val="8FCB9B"/>
      </a:accent2>
      <a:accent3>
        <a:srgbClr val="512B47"/>
      </a:accent3>
      <a:accent4>
        <a:srgbClr val="9AC2C9"/>
      </a:accent4>
      <a:accent5>
        <a:srgbClr val="553C36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5</TotalTime>
  <Words>268</Words>
  <Application>Microsoft Office PowerPoint</Application>
  <PresentationFormat>Экран (4:3)</PresentationFormat>
  <Paragraphs>104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3" baseType="lpstr">
      <vt:lpstr>Тема Office</vt:lpstr>
      <vt:lpstr>1_Тема Office</vt:lpstr>
      <vt:lpstr>Custom Design</vt:lpstr>
      <vt:lpstr>think-cell Slide</vt:lpstr>
      <vt:lpstr>Указом Президента РФ № 204 от 07 мая 2018 года определены стратегические цели страны до 2024 года</vt:lpstr>
      <vt:lpstr>Ключевые термины</vt:lpstr>
      <vt:lpstr>Каскадирование проектов</vt:lpstr>
      <vt:lpstr>Структура национального проекта</vt:lpstr>
      <vt:lpstr>В Югре запущено 11 портфелей проектов, основанных на национальных проектах</vt:lpstr>
      <vt:lpstr>Место национальных проектов в государственных программах</vt:lpstr>
      <vt:lpstr>Муниципальные образования принимают участие в 21 региональном проекте</vt:lpstr>
      <vt:lpstr>Каждый муниципалитет участвует в реализации  от 15 до 19 региональных проектов</vt:lpstr>
      <vt:lpstr>Наибольшая доля средств местных бюджетов предусмотрена на проект «Современная школа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каз Президента РФ  «О национальных целях и стратегических задачах развития РФ  на период до 2024 года»</dc:title>
  <dc:creator>Шулинина Елена Раймировна</dc:creator>
  <cp:lastModifiedBy>Акимова Вера Александровна</cp:lastModifiedBy>
  <cp:revision>342</cp:revision>
  <cp:lastPrinted>2018-07-09T06:23:55Z</cp:lastPrinted>
  <dcterms:created xsi:type="dcterms:W3CDTF">2018-06-27T10:26:10Z</dcterms:created>
  <dcterms:modified xsi:type="dcterms:W3CDTF">2019-06-13T06:29:05Z</dcterms:modified>
</cp:coreProperties>
</file>